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2" r:id="rId4"/>
  </p:sldMasterIdLst>
  <p:notesMasterIdLst>
    <p:notesMasterId r:id="rId7"/>
  </p:notesMasterIdLst>
  <p:handoutMasterIdLst>
    <p:handoutMasterId r:id="rId8"/>
  </p:handoutMasterIdLst>
  <p:sldIdLst>
    <p:sldId id="256" r:id="rId5"/>
    <p:sldId id="275" r:id="rId6"/>
  </p:sldIdLst>
  <p:sldSz cx="12192000" cy="6858000"/>
  <p:notesSz cx="9144000" cy="6858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0" userDrawn="1">
          <p15:clr>
            <a:srgbClr val="A4A3A4"/>
          </p15:clr>
        </p15:guide>
        <p15:guide id="3" orient="horz" pos="2352" userDrawn="1">
          <p15:clr>
            <a:srgbClr val="A4A3A4"/>
          </p15:clr>
        </p15:guide>
        <p15:guide id="4" orient="horz" pos="3795" userDrawn="1">
          <p15:clr>
            <a:srgbClr val="A4A3A4"/>
          </p15:clr>
        </p15:guide>
        <p15:guide id="6" orient="horz" pos="4175" userDrawn="1">
          <p15:clr>
            <a:srgbClr val="A4A3A4"/>
          </p15:clr>
        </p15:guide>
        <p15:guide id="7" pos="293" userDrawn="1">
          <p15:clr>
            <a:srgbClr val="A4A3A4"/>
          </p15:clr>
        </p15:guide>
        <p15:guide id="8" pos="7399" userDrawn="1">
          <p15:clr>
            <a:srgbClr val="A4A3A4"/>
          </p15:clr>
        </p15:guide>
        <p15:guide id="9" pos="1463" userDrawn="1">
          <p15:clr>
            <a:srgbClr val="A4A3A4"/>
          </p15:clr>
        </p15:guide>
        <p15:guide id="10" pos="6193" userDrawn="1">
          <p15:clr>
            <a:srgbClr val="A4A3A4"/>
          </p15:clr>
        </p15:guide>
        <p15:guide id="11" pos="3841" userDrawn="1">
          <p15:clr>
            <a:srgbClr val="A4A3A4"/>
          </p15:clr>
        </p15:guide>
        <p15:guide id="12" pos="2640" userDrawn="1">
          <p15:clr>
            <a:srgbClr val="A4A3A4"/>
          </p15:clr>
        </p15:guide>
        <p15:guide id="13" pos="5016" userDrawn="1">
          <p15:clr>
            <a:srgbClr val="A4A3A4"/>
          </p15:clr>
        </p15:guide>
        <p15:guide id="14" orient="horz" pos="279" userDrawn="1">
          <p15:clr>
            <a:srgbClr val="A4A3A4"/>
          </p15:clr>
        </p15:guide>
        <p15:guide id="15" orient="horz" pos="768" userDrawn="1">
          <p15:clr>
            <a:srgbClr val="A4A3A4"/>
          </p15:clr>
        </p15:guide>
        <p15:guide id="16" orient="horz" pos="4152" userDrawn="1">
          <p15:clr>
            <a:srgbClr val="A4A3A4"/>
          </p15:clr>
        </p15:guide>
        <p15:guide id="17" orient="horz" pos="912" userDrawn="1">
          <p15:clr>
            <a:srgbClr val="A4A3A4"/>
          </p15:clr>
        </p15:guide>
        <p15:guide id="18" orient="horz" pos="3931" userDrawn="1">
          <p15:clr>
            <a:srgbClr val="A4A3A4"/>
          </p15:clr>
        </p15:guide>
        <p15:guide id="19" pos="3792" userDrawn="1">
          <p15:clr>
            <a:srgbClr val="A4A3A4"/>
          </p15:clr>
        </p15:guide>
        <p15:guide id="20" pos="3888" userDrawn="1">
          <p15:clr>
            <a:srgbClr val="A4A3A4"/>
          </p15:clr>
        </p15:guide>
        <p15:guide id="21" orient="horz" pos="2304" userDrawn="1">
          <p15:clr>
            <a:srgbClr val="A4A3A4"/>
          </p15:clr>
        </p15:guide>
        <p15:guide id="22" orient="horz" pos="2400" userDrawn="1">
          <p15:clr>
            <a:srgbClr val="A4A3A4"/>
          </p15:clr>
        </p15:guide>
        <p15:guide id="23" orient="horz" pos="286" userDrawn="1">
          <p15:clr>
            <a:srgbClr val="A4A3A4"/>
          </p15:clr>
        </p15:guide>
        <p15:guide id="24" orient="horz" pos="285" userDrawn="1">
          <p15:clr>
            <a:srgbClr val="A4A3A4"/>
          </p15:clr>
        </p15:guide>
        <p15:guide id="25" orient="horz" pos="401" userDrawn="1">
          <p15:clr>
            <a:srgbClr val="A4A3A4"/>
          </p15:clr>
        </p15:guide>
        <p15:guide id="26" orient="horz" pos="1039" userDrawn="1">
          <p15:clr>
            <a:srgbClr val="A4A3A4"/>
          </p15:clr>
        </p15:guide>
        <p15:guide id="27" pos="3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848"/>
    <a:srgbClr val="7F7F7F"/>
    <a:srgbClr val="F2F2F2"/>
    <a:srgbClr val="D9D9D9"/>
    <a:srgbClr val="F7F7F7"/>
    <a:srgbClr val="00859B"/>
    <a:srgbClr val="EFE411"/>
    <a:srgbClr val="D20962"/>
    <a:srgbClr val="B2DAE1"/>
    <a:srgbClr val="E5B2C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47" autoAdjust="0"/>
    <p:restoredTop sz="95332" autoAdjust="0"/>
  </p:normalViewPr>
  <p:slideViewPr>
    <p:cSldViewPr snapToGrid="0">
      <p:cViewPr varScale="1">
        <p:scale>
          <a:sx n="154" d="100"/>
          <a:sy n="154" d="100"/>
        </p:scale>
        <p:origin x="216" y="216"/>
      </p:cViewPr>
      <p:guideLst>
        <p:guide orient="horz" pos="280"/>
        <p:guide orient="horz" pos="2352"/>
        <p:guide orient="horz" pos="3795"/>
        <p:guide orient="horz" pos="4175"/>
        <p:guide pos="293"/>
        <p:guide pos="7399"/>
        <p:guide pos="1463"/>
        <p:guide pos="6193"/>
        <p:guide pos="3841"/>
        <p:guide pos="2640"/>
        <p:guide pos="5016"/>
        <p:guide orient="horz" pos="279"/>
        <p:guide orient="horz" pos="768"/>
        <p:guide orient="horz" pos="4152"/>
        <p:guide orient="horz" pos="912"/>
        <p:guide orient="horz" pos="3931"/>
        <p:guide pos="3792"/>
        <p:guide pos="3888"/>
        <p:guide orient="horz" pos="2304"/>
        <p:guide orient="horz" pos="2400"/>
        <p:guide orient="horz" pos="286"/>
        <p:guide orient="horz" pos="285"/>
        <p:guide orient="horz" pos="401"/>
        <p:guide orient="horz" pos="1039"/>
        <p:guide pos="343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040" y="77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Open Sans Light"/>
                <a:cs typeface="Open Sans Light"/>
              </a:rPr>
              <a:t>11/13/2019</a:t>
            </a:fld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Open Sans Light"/>
              <a:cs typeface="Open Sans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Open Sans Light"/>
                <a:cs typeface="Open Sans Light"/>
              </a:rPr>
              <a:t>‹#›</a:t>
            </a:fld>
            <a:endParaRPr lang="en-US" sz="1000" dirty="0"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1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123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D15A5-6128-B84F-818D-8AA5BDD9AF9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677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2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1"/>
            <a:ext cx="4440635" cy="338328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7749346" y="3375049"/>
            <a:ext cx="4442654" cy="11887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Righ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296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351520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26008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2011680"/>
            <a:ext cx="7406640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sion to act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444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/>
          <p:nvPr userDrawn="1"/>
        </p:nvSpPr>
        <p:spPr>
          <a:xfrm>
            <a:off x="0" y="4732020"/>
            <a:ext cx="12192000" cy="2125980"/>
          </a:xfrm>
          <a:prstGeom prst="rect">
            <a:avLst/>
          </a:prstGeom>
          <a:gradFill flip="none" rotWithShape="1">
            <a:gsLst>
              <a:gs pos="67000">
                <a:schemeClr val="bg1"/>
              </a:gs>
              <a:gs pos="100000">
                <a:schemeClr val="bg1"/>
              </a:gs>
              <a:gs pos="55000">
                <a:schemeClr val="accent2"/>
              </a:gs>
              <a:gs pos="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1589" y="0"/>
            <a:ext cx="12188825" cy="4732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88" y="0"/>
            <a:ext cx="6126479" cy="4732020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flipH="1">
            <a:off x="6015106" y="1"/>
            <a:ext cx="665217" cy="473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2"/>
          <p:cNvSpPr txBox="1">
            <a:spLocks/>
          </p:cNvSpPr>
          <p:nvPr userDrawn="1"/>
        </p:nvSpPr>
        <p:spPr>
          <a:xfrm>
            <a:off x="7901547" y="3658243"/>
            <a:ext cx="3949108" cy="7271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2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5400" b="1" dirty="0">
                <a:solidFill>
                  <a:srgbClr val="00859B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into action.</a:t>
            </a:r>
          </a:p>
        </p:txBody>
      </p:sp>
      <p:sp>
        <p:nvSpPr>
          <p:cNvPr id="32" name="Title 1"/>
          <p:cNvSpPr txBox="1">
            <a:spLocks/>
          </p:cNvSpPr>
          <p:nvPr userDrawn="1"/>
        </p:nvSpPr>
        <p:spPr>
          <a:xfrm>
            <a:off x="5061285" y="2489624"/>
            <a:ext cx="5205181" cy="17708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7200" b="0" i="0" kern="1200">
                <a:solidFill>
                  <a:schemeClr val="bg1"/>
                </a:solidFill>
                <a:latin typeface="Domaine Display Bold" panose="020A0803080505060203" pitchFamily="18" charset="0"/>
                <a:ea typeface="Open Sans" panose="020B0606030504020204" pitchFamily="34" charset="0"/>
                <a:cs typeface="Domaine Display Bold" panose="020A0803080505060203" pitchFamily="18" charset="0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</a:rPr>
              <a:t>Turning vis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54511" y="5940719"/>
            <a:ext cx="3097787" cy="413801"/>
            <a:chOff x="279400" y="2781300"/>
            <a:chExt cx="8585200" cy="1092200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4" y="2816225"/>
              <a:ext cx="1014412" cy="1023939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504316" y="5402513"/>
            <a:ext cx="1930419" cy="1067172"/>
            <a:chOff x="7526204" y="2289887"/>
            <a:chExt cx="3108960" cy="1718692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70916" y="2865025"/>
              <a:ext cx="2148840" cy="827025"/>
              <a:chOff x="-2522495" y="1678245"/>
              <a:chExt cx="2126771" cy="818532"/>
            </a:xfrm>
          </p:grpSpPr>
          <p:sp>
            <p:nvSpPr>
              <p:cNvPr id="47" name="TextBox 46"/>
              <p:cNvSpPr txBox="1">
                <a:spLocks/>
              </p:cNvSpPr>
              <p:nvPr/>
            </p:nvSpPr>
            <p:spPr>
              <a:xfrm>
                <a:off x="-2130523" y="1678245"/>
                <a:ext cx="486642" cy="382152"/>
              </a:xfrm>
              <a:custGeom>
                <a:avLst/>
                <a:gdLst/>
                <a:ahLst/>
                <a:cxnLst/>
                <a:rect l="l" t="t" r="r" b="b"/>
                <a:pathLst>
                  <a:path w="486642" h="382152">
                    <a:moveTo>
                      <a:pt x="150943" y="0"/>
                    </a:moveTo>
                    <a:cubicBezTo>
                      <a:pt x="191582" y="0"/>
                      <a:pt x="224490" y="12368"/>
                      <a:pt x="232082" y="39810"/>
                    </a:cubicBezTo>
                    <a:lnTo>
                      <a:pt x="232262" y="41192"/>
                    </a:lnTo>
                    <a:lnTo>
                      <a:pt x="244394" y="27828"/>
                    </a:lnTo>
                    <a:cubicBezTo>
                      <a:pt x="265912" y="9086"/>
                      <a:pt x="296328" y="0"/>
                      <a:pt x="331918" y="0"/>
                    </a:cubicBezTo>
                    <a:cubicBezTo>
                      <a:pt x="355140" y="0"/>
                      <a:pt x="375838" y="4038"/>
                      <a:pt x="390730" y="12620"/>
                    </a:cubicBezTo>
                    <a:lnTo>
                      <a:pt x="399550" y="19037"/>
                    </a:lnTo>
                    <a:lnTo>
                      <a:pt x="415123" y="9213"/>
                    </a:lnTo>
                    <a:cubicBezTo>
                      <a:pt x="421204" y="6846"/>
                      <a:pt x="427956" y="5553"/>
                      <a:pt x="435150" y="5553"/>
                    </a:cubicBezTo>
                    <a:cubicBezTo>
                      <a:pt x="464430" y="5553"/>
                      <a:pt x="486642" y="26250"/>
                      <a:pt x="486642" y="53511"/>
                    </a:cubicBezTo>
                    <a:cubicBezTo>
                      <a:pt x="486642" y="80772"/>
                      <a:pt x="464430" y="101974"/>
                      <a:pt x="435150" y="101974"/>
                    </a:cubicBezTo>
                    <a:cubicBezTo>
                      <a:pt x="420763" y="101974"/>
                      <a:pt x="408142" y="96674"/>
                      <a:pt x="399118" y="87965"/>
                    </a:cubicBezTo>
                    <a:lnTo>
                      <a:pt x="397141" y="85099"/>
                    </a:lnTo>
                    <a:lnTo>
                      <a:pt x="387023" y="90979"/>
                    </a:lnTo>
                    <a:cubicBezTo>
                      <a:pt x="381675" y="92887"/>
                      <a:pt x="375838" y="93897"/>
                      <a:pt x="369780" y="93897"/>
                    </a:cubicBezTo>
                    <a:cubicBezTo>
                      <a:pt x="355140" y="93897"/>
                      <a:pt x="342015" y="89354"/>
                      <a:pt x="335452" y="81781"/>
                    </a:cubicBezTo>
                    <a:cubicBezTo>
                      <a:pt x="350092" y="78247"/>
                      <a:pt x="359179" y="66132"/>
                      <a:pt x="359179" y="42910"/>
                    </a:cubicBezTo>
                    <a:cubicBezTo>
                      <a:pt x="359179" y="22717"/>
                      <a:pt x="350597" y="8077"/>
                      <a:pt x="331918" y="8077"/>
                    </a:cubicBezTo>
                    <a:cubicBezTo>
                      <a:pt x="308696" y="8077"/>
                      <a:pt x="300619" y="29784"/>
                      <a:pt x="300619" y="58054"/>
                    </a:cubicBezTo>
                    <a:lnTo>
                      <a:pt x="300619" y="132264"/>
                    </a:lnTo>
                    <a:lnTo>
                      <a:pt x="363217" y="132264"/>
                    </a:lnTo>
                    <a:lnTo>
                      <a:pt x="360693" y="144884"/>
                    </a:lnTo>
                    <a:lnTo>
                      <a:pt x="300619" y="144884"/>
                    </a:lnTo>
                    <a:lnTo>
                      <a:pt x="300619" y="327126"/>
                    </a:lnTo>
                    <a:cubicBezTo>
                      <a:pt x="300619" y="360445"/>
                      <a:pt x="312230" y="369027"/>
                      <a:pt x="339490" y="381142"/>
                    </a:cubicBezTo>
                    <a:lnTo>
                      <a:pt x="339490" y="382152"/>
                    </a:lnTo>
                    <a:lnTo>
                      <a:pt x="186529" y="382152"/>
                    </a:lnTo>
                    <a:lnTo>
                      <a:pt x="186529" y="381142"/>
                    </a:lnTo>
                    <a:cubicBezTo>
                      <a:pt x="208741" y="367007"/>
                      <a:pt x="210255" y="360445"/>
                      <a:pt x="210255" y="327126"/>
                    </a:cubicBezTo>
                    <a:lnTo>
                      <a:pt x="210255" y="144884"/>
                    </a:lnTo>
                    <a:lnTo>
                      <a:pt x="180976" y="144884"/>
                    </a:lnTo>
                    <a:lnTo>
                      <a:pt x="180976" y="139331"/>
                    </a:lnTo>
                    <a:lnTo>
                      <a:pt x="210255" y="128225"/>
                    </a:lnTo>
                    <a:lnTo>
                      <a:pt x="210255" y="113585"/>
                    </a:lnTo>
                    <a:lnTo>
                      <a:pt x="212504" y="87227"/>
                    </a:lnTo>
                    <a:lnTo>
                      <a:pt x="206048" y="90979"/>
                    </a:lnTo>
                    <a:cubicBezTo>
                      <a:pt x="200700" y="92887"/>
                      <a:pt x="194863" y="93897"/>
                      <a:pt x="188805" y="93897"/>
                    </a:cubicBezTo>
                    <a:cubicBezTo>
                      <a:pt x="174165" y="93897"/>
                      <a:pt x="161040" y="89354"/>
                      <a:pt x="154477" y="81781"/>
                    </a:cubicBezTo>
                    <a:cubicBezTo>
                      <a:pt x="169117" y="78247"/>
                      <a:pt x="178204" y="66132"/>
                      <a:pt x="178204" y="42910"/>
                    </a:cubicBezTo>
                    <a:cubicBezTo>
                      <a:pt x="178204" y="22717"/>
                      <a:pt x="169622" y="8077"/>
                      <a:pt x="150943" y="8077"/>
                    </a:cubicBezTo>
                    <a:cubicBezTo>
                      <a:pt x="127721" y="8077"/>
                      <a:pt x="119644" y="29784"/>
                      <a:pt x="119644" y="58054"/>
                    </a:cubicBezTo>
                    <a:lnTo>
                      <a:pt x="119644" y="132264"/>
                    </a:lnTo>
                    <a:lnTo>
                      <a:pt x="182242" y="132264"/>
                    </a:lnTo>
                    <a:lnTo>
                      <a:pt x="179718" y="144884"/>
                    </a:lnTo>
                    <a:lnTo>
                      <a:pt x="119644" y="144884"/>
                    </a:lnTo>
                    <a:lnTo>
                      <a:pt x="119644" y="327126"/>
                    </a:lnTo>
                    <a:cubicBezTo>
                      <a:pt x="119644" y="360445"/>
                      <a:pt x="131255" y="369027"/>
                      <a:pt x="158516" y="381142"/>
                    </a:cubicBezTo>
                    <a:lnTo>
                      <a:pt x="158516" y="382152"/>
                    </a:lnTo>
                    <a:lnTo>
                      <a:pt x="5554" y="382152"/>
                    </a:lnTo>
                    <a:lnTo>
                      <a:pt x="5554" y="381142"/>
                    </a:lnTo>
                    <a:cubicBezTo>
                      <a:pt x="27766" y="367007"/>
                      <a:pt x="29280" y="360445"/>
                      <a:pt x="29280" y="327126"/>
                    </a:cubicBezTo>
                    <a:lnTo>
                      <a:pt x="29280" y="144884"/>
                    </a:lnTo>
                    <a:lnTo>
                      <a:pt x="0" y="144884"/>
                    </a:lnTo>
                    <a:lnTo>
                      <a:pt x="0" y="139331"/>
                    </a:lnTo>
                    <a:lnTo>
                      <a:pt x="29280" y="128225"/>
                    </a:lnTo>
                    <a:lnTo>
                      <a:pt x="29280" y="113585"/>
                    </a:lnTo>
                    <a:cubicBezTo>
                      <a:pt x="29280" y="36347"/>
                      <a:pt x="79763" y="0"/>
                      <a:pt x="15094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-2522495" y="1701971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TextBox 48"/>
              <p:cNvSpPr txBox="1">
                <a:spLocks/>
              </p:cNvSpPr>
              <p:nvPr/>
            </p:nvSpPr>
            <p:spPr>
              <a:xfrm>
                <a:off x="-1602104" y="1805461"/>
                <a:ext cx="245345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45345" h="259984">
                    <a:moveTo>
                      <a:pt x="144885" y="0"/>
                    </a:moveTo>
                    <a:cubicBezTo>
                      <a:pt x="199406" y="0"/>
                      <a:pt x="240297" y="23726"/>
                      <a:pt x="240297" y="65122"/>
                    </a:cubicBezTo>
                    <a:cubicBezTo>
                      <a:pt x="240297" y="95411"/>
                      <a:pt x="217075" y="111061"/>
                      <a:pt x="192843" y="111061"/>
                    </a:cubicBezTo>
                    <a:cubicBezTo>
                      <a:pt x="166087" y="111061"/>
                      <a:pt x="150438" y="96421"/>
                      <a:pt x="148923" y="81781"/>
                    </a:cubicBezTo>
                    <a:cubicBezTo>
                      <a:pt x="151952" y="82791"/>
                      <a:pt x="155486" y="83296"/>
                      <a:pt x="158010" y="83296"/>
                    </a:cubicBezTo>
                    <a:cubicBezTo>
                      <a:pt x="176689" y="83296"/>
                      <a:pt x="184261" y="67646"/>
                      <a:pt x="184261" y="48463"/>
                    </a:cubicBezTo>
                    <a:cubicBezTo>
                      <a:pt x="184261" y="24231"/>
                      <a:pt x="171136" y="8582"/>
                      <a:pt x="145894" y="8582"/>
                    </a:cubicBezTo>
                    <a:cubicBezTo>
                      <a:pt x="110557" y="8582"/>
                      <a:pt x="93897" y="54016"/>
                      <a:pt x="93897" y="112575"/>
                    </a:cubicBezTo>
                    <a:cubicBezTo>
                      <a:pt x="93897" y="181737"/>
                      <a:pt x="124692" y="218589"/>
                      <a:pt x="171640" y="218589"/>
                    </a:cubicBezTo>
                    <a:cubicBezTo>
                      <a:pt x="200415" y="218589"/>
                      <a:pt x="226666" y="204958"/>
                      <a:pt x="242316" y="173659"/>
                    </a:cubicBezTo>
                    <a:lnTo>
                      <a:pt x="245345" y="175174"/>
                    </a:lnTo>
                    <a:cubicBezTo>
                      <a:pt x="231210" y="229190"/>
                      <a:pt x="185775" y="259984"/>
                      <a:pt x="129740" y="259984"/>
                    </a:cubicBezTo>
                    <a:cubicBezTo>
                      <a:pt x="60074" y="259984"/>
                      <a:pt x="0" y="213036"/>
                      <a:pt x="0" y="134788"/>
                    </a:cubicBezTo>
                    <a:cubicBezTo>
                      <a:pt x="0" y="49977"/>
                      <a:pt x="63608" y="0"/>
                      <a:pt x="1448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TextBox 49"/>
              <p:cNvSpPr txBox="1">
                <a:spLocks/>
              </p:cNvSpPr>
              <p:nvPr/>
            </p:nvSpPr>
            <p:spPr>
              <a:xfrm>
                <a:off x="-1335404" y="1805461"/>
                <a:ext cx="251908" cy="259984"/>
              </a:xfrm>
              <a:custGeom>
                <a:avLst/>
                <a:gdLst/>
                <a:ahLst/>
                <a:cxnLst/>
                <a:rect l="l" t="t" r="r" b="b"/>
                <a:pathLst>
                  <a:path w="251908" h="259984">
                    <a:moveTo>
                      <a:pt x="132264" y="0"/>
                    </a:moveTo>
                    <a:cubicBezTo>
                      <a:pt x="213541" y="0"/>
                      <a:pt x="251908" y="51996"/>
                      <a:pt x="251908" y="118633"/>
                    </a:cubicBezTo>
                    <a:lnTo>
                      <a:pt x="91373" y="118633"/>
                    </a:lnTo>
                    <a:cubicBezTo>
                      <a:pt x="91373" y="181232"/>
                      <a:pt x="124187" y="218589"/>
                      <a:pt x="172650" y="218589"/>
                    </a:cubicBezTo>
                    <a:cubicBezTo>
                      <a:pt x="203444" y="218589"/>
                      <a:pt x="230200" y="204958"/>
                      <a:pt x="245850" y="173659"/>
                    </a:cubicBezTo>
                    <a:lnTo>
                      <a:pt x="249383" y="175174"/>
                    </a:lnTo>
                    <a:cubicBezTo>
                      <a:pt x="234744" y="229190"/>
                      <a:pt x="189309" y="259984"/>
                      <a:pt x="131759" y="259984"/>
                    </a:cubicBezTo>
                    <a:cubicBezTo>
                      <a:pt x="59569" y="259984"/>
                      <a:pt x="0" y="212531"/>
                      <a:pt x="0" y="130244"/>
                    </a:cubicBezTo>
                    <a:cubicBezTo>
                      <a:pt x="0" y="50987"/>
                      <a:pt x="60074" y="0"/>
                      <a:pt x="132264" y="0"/>
                    </a:cubicBezTo>
                    <a:close/>
                    <a:moveTo>
                      <a:pt x="132264" y="8582"/>
                    </a:moveTo>
                    <a:cubicBezTo>
                      <a:pt x="106013" y="8582"/>
                      <a:pt x="92888" y="48463"/>
                      <a:pt x="91878" y="108032"/>
                    </a:cubicBezTo>
                    <a:lnTo>
                      <a:pt x="165078" y="108032"/>
                    </a:lnTo>
                    <a:cubicBezTo>
                      <a:pt x="165078" y="51492"/>
                      <a:pt x="161039" y="8582"/>
                      <a:pt x="132264" y="85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-1766048" y="1810509"/>
                <a:ext cx="140846" cy="249888"/>
              </a:xfrm>
              <a:custGeom>
                <a:avLst/>
                <a:gdLst/>
                <a:ahLst/>
                <a:cxnLst/>
                <a:rect l="l" t="t" r="r" b="b"/>
                <a:pathLst>
                  <a:path w="140846" h="249888">
                    <a:moveTo>
                      <a:pt x="0" y="0"/>
                    </a:moveTo>
                    <a:lnTo>
                      <a:pt x="117119" y="0"/>
                    </a:lnTo>
                    <a:lnTo>
                      <a:pt x="117119" y="194862"/>
                    </a:lnTo>
                    <a:cubicBezTo>
                      <a:pt x="117119" y="228181"/>
                      <a:pt x="118633" y="234743"/>
                      <a:pt x="140846" y="248878"/>
                    </a:cubicBezTo>
                    <a:lnTo>
                      <a:pt x="140846" y="249888"/>
                    </a:lnTo>
                    <a:lnTo>
                      <a:pt x="3029" y="249888"/>
                    </a:lnTo>
                    <a:lnTo>
                      <a:pt x="3029" y="248878"/>
                    </a:lnTo>
                    <a:cubicBezTo>
                      <a:pt x="25241" y="234743"/>
                      <a:pt x="26755" y="228181"/>
                      <a:pt x="26755" y="194862"/>
                    </a:cubicBezTo>
                    <a:lnTo>
                      <a:pt x="26755" y="56035"/>
                    </a:lnTo>
                    <a:cubicBezTo>
                      <a:pt x="26755" y="21707"/>
                      <a:pt x="23726" y="14640"/>
                      <a:pt x="0" y="10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-1501643" y="2133303"/>
                <a:ext cx="323593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23593" h="363474">
                    <a:moveTo>
                      <a:pt x="190319" y="0"/>
                    </a:moveTo>
                    <a:cubicBezTo>
                      <a:pt x="236258" y="0"/>
                      <a:pt x="260994" y="15145"/>
                      <a:pt x="277653" y="15145"/>
                    </a:cubicBezTo>
                    <a:cubicBezTo>
                      <a:pt x="291284" y="15145"/>
                      <a:pt x="299866" y="9087"/>
                      <a:pt x="310467" y="0"/>
                    </a:cubicBezTo>
                    <a:lnTo>
                      <a:pt x="314001" y="120149"/>
                    </a:lnTo>
                    <a:lnTo>
                      <a:pt x="312991" y="120149"/>
                    </a:lnTo>
                    <a:cubicBezTo>
                      <a:pt x="287750" y="56541"/>
                      <a:pt x="250393" y="11107"/>
                      <a:pt x="199910" y="11107"/>
                    </a:cubicBezTo>
                    <a:cubicBezTo>
                      <a:pt x="137312" y="11107"/>
                      <a:pt x="101974" y="80268"/>
                      <a:pt x="101974" y="164573"/>
                    </a:cubicBezTo>
                    <a:cubicBezTo>
                      <a:pt x="101974" y="260490"/>
                      <a:pt x="155486" y="315011"/>
                      <a:pt x="221113" y="315011"/>
                    </a:cubicBezTo>
                    <a:cubicBezTo>
                      <a:pt x="263014" y="315011"/>
                      <a:pt x="297846" y="300371"/>
                      <a:pt x="320564" y="252918"/>
                    </a:cubicBezTo>
                    <a:lnTo>
                      <a:pt x="323593" y="253927"/>
                    </a:lnTo>
                    <a:cubicBezTo>
                      <a:pt x="306428" y="321574"/>
                      <a:pt x="252412" y="363474"/>
                      <a:pt x="173660" y="363474"/>
                    </a:cubicBezTo>
                    <a:cubicBezTo>
                      <a:pt x="74209" y="363474"/>
                      <a:pt x="0" y="293304"/>
                      <a:pt x="0" y="186786"/>
                    </a:cubicBezTo>
                    <a:cubicBezTo>
                      <a:pt x="0" y="76229"/>
                      <a:pt x="85820" y="0"/>
                      <a:pt x="1903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-758693" y="2133303"/>
                <a:ext cx="362969" cy="363474"/>
              </a:xfrm>
              <a:custGeom>
                <a:avLst/>
                <a:gdLst/>
                <a:ahLst/>
                <a:cxnLst/>
                <a:rect l="l" t="t" r="r" b="b"/>
                <a:pathLst>
                  <a:path w="362969" h="363474">
                    <a:moveTo>
                      <a:pt x="181737" y="0"/>
                    </a:moveTo>
                    <a:cubicBezTo>
                      <a:pt x="285731" y="0"/>
                      <a:pt x="362969" y="75724"/>
                      <a:pt x="362969" y="181737"/>
                    </a:cubicBezTo>
                    <a:cubicBezTo>
                      <a:pt x="362969" y="287751"/>
                      <a:pt x="285731" y="363474"/>
                      <a:pt x="181737" y="363474"/>
                    </a:cubicBezTo>
                    <a:cubicBezTo>
                      <a:pt x="77238" y="363474"/>
                      <a:pt x="0" y="287751"/>
                      <a:pt x="0" y="181737"/>
                    </a:cubicBezTo>
                    <a:cubicBezTo>
                      <a:pt x="0" y="75724"/>
                      <a:pt x="77238" y="0"/>
                      <a:pt x="181737" y="0"/>
                    </a:cubicBezTo>
                    <a:close/>
                    <a:moveTo>
                      <a:pt x="181737" y="10097"/>
                    </a:moveTo>
                    <a:cubicBezTo>
                      <a:pt x="123682" y="10097"/>
                      <a:pt x="103994" y="70676"/>
                      <a:pt x="103994" y="181737"/>
                    </a:cubicBezTo>
                    <a:cubicBezTo>
                      <a:pt x="103994" y="292799"/>
                      <a:pt x="123682" y="353378"/>
                      <a:pt x="181737" y="353378"/>
                    </a:cubicBezTo>
                    <a:cubicBezTo>
                      <a:pt x="239287" y="353378"/>
                      <a:pt x="258975" y="292799"/>
                      <a:pt x="258975" y="181737"/>
                    </a:cubicBezTo>
                    <a:cubicBezTo>
                      <a:pt x="258975" y="70676"/>
                      <a:pt x="239287" y="10097"/>
                      <a:pt x="181737" y="1009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-1156286" y="2133808"/>
                <a:ext cx="373571" cy="357921"/>
              </a:xfrm>
              <a:custGeom>
                <a:avLst/>
                <a:gdLst/>
                <a:ahLst/>
                <a:cxnLst/>
                <a:rect l="l" t="t" r="r" b="b"/>
                <a:pathLst>
                  <a:path w="373571" h="357921">
                    <a:moveTo>
                      <a:pt x="17164" y="0"/>
                    </a:moveTo>
                    <a:cubicBezTo>
                      <a:pt x="24232" y="3534"/>
                      <a:pt x="35338" y="4544"/>
                      <a:pt x="52502" y="4544"/>
                    </a:cubicBezTo>
                    <a:lnTo>
                      <a:pt x="321069" y="4544"/>
                    </a:lnTo>
                    <a:cubicBezTo>
                      <a:pt x="338233" y="4544"/>
                      <a:pt x="349339" y="3534"/>
                      <a:pt x="356407" y="0"/>
                    </a:cubicBezTo>
                    <a:lnTo>
                      <a:pt x="373571" y="119644"/>
                    </a:lnTo>
                    <a:lnTo>
                      <a:pt x="372561" y="119644"/>
                    </a:lnTo>
                    <a:cubicBezTo>
                      <a:pt x="329651" y="50988"/>
                      <a:pt x="309963" y="17669"/>
                      <a:pt x="255946" y="17669"/>
                    </a:cubicBezTo>
                    <a:lnTo>
                      <a:pt x="234239" y="17669"/>
                    </a:lnTo>
                    <a:lnTo>
                      <a:pt x="234239" y="297847"/>
                    </a:lnTo>
                    <a:cubicBezTo>
                      <a:pt x="234239" y="331165"/>
                      <a:pt x="240802" y="342272"/>
                      <a:pt x="263014" y="356912"/>
                    </a:cubicBezTo>
                    <a:lnTo>
                      <a:pt x="263014" y="357921"/>
                    </a:lnTo>
                    <a:lnTo>
                      <a:pt x="110557" y="357921"/>
                    </a:lnTo>
                    <a:lnTo>
                      <a:pt x="110557" y="356912"/>
                    </a:lnTo>
                    <a:cubicBezTo>
                      <a:pt x="133274" y="342272"/>
                      <a:pt x="139332" y="331165"/>
                      <a:pt x="139332" y="297847"/>
                    </a:cubicBezTo>
                    <a:lnTo>
                      <a:pt x="139332" y="17669"/>
                    </a:lnTo>
                    <a:lnTo>
                      <a:pt x="117624" y="17669"/>
                    </a:lnTo>
                    <a:cubicBezTo>
                      <a:pt x="63608" y="17669"/>
                      <a:pt x="43920" y="50988"/>
                      <a:pt x="1010" y="119644"/>
                    </a:cubicBezTo>
                    <a:lnTo>
                      <a:pt x="0" y="119644"/>
                    </a:lnTo>
                    <a:lnTo>
                      <a:pt x="17164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-2145704" y="2148039"/>
                <a:ext cx="130738" cy="132991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TextBox 55"/>
              <p:cNvSpPr txBox="1">
                <a:spLocks/>
              </p:cNvSpPr>
              <p:nvPr/>
            </p:nvSpPr>
            <p:spPr>
              <a:xfrm>
                <a:off x="-1995442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-1879880" y="2150070"/>
                <a:ext cx="106535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-1757317" y="2150070"/>
                <a:ext cx="107896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-1623967" y="2150070"/>
                <a:ext cx="79221" cy="129192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3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7526204" y="2289887"/>
              <a:ext cx="3108960" cy="171869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Rectangle 59"/>
          <p:cNvSpPr/>
          <p:nvPr userDrawn="1"/>
        </p:nvSpPr>
        <p:spPr>
          <a:xfrm flipH="1">
            <a:off x="-1591" y="4732897"/>
            <a:ext cx="12193589" cy="336177"/>
          </a:xfrm>
          <a:prstGeom prst="rect">
            <a:avLst/>
          </a:prstGeom>
          <a:solidFill>
            <a:srgbClr val="064E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, Division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909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spect="1"/>
          </p:cNvSpPr>
          <p:nvPr/>
        </p:nvSpPr>
        <p:spPr>
          <a:xfrm>
            <a:off x="7751366" y="0"/>
            <a:ext cx="444063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9890" y="0"/>
            <a:ext cx="12147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34187" y="5051932"/>
            <a:ext cx="2121961" cy="1172755"/>
            <a:chOff x="834187" y="5007328"/>
            <a:chExt cx="2121961" cy="1172755"/>
          </a:xfrm>
        </p:grpSpPr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1476280" y="5399774"/>
              <a:ext cx="335594" cy="263468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205971" y="5416132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840684" y="5487481"/>
              <a:ext cx="169193" cy="17924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2024603" y="5487481"/>
              <a:ext cx="173719" cy="17924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1727626" y="5490962"/>
              <a:ext cx="97129" cy="172281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1909962" y="5713507"/>
              <a:ext cx="223154" cy="25059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422311" y="5713507"/>
              <a:ext cx="250308" cy="25059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Box 18"/>
            <p:cNvSpPr txBox="1">
              <a:spLocks/>
            </p:cNvSpPr>
            <p:nvPr/>
          </p:nvSpPr>
          <p:spPr>
            <a:xfrm>
              <a:off x="2148125" y="5713855"/>
              <a:ext cx="257619" cy="2467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65810" y="5723666"/>
              <a:ext cx="414429" cy="91688"/>
              <a:chOff x="1465428" y="5723666"/>
              <a:chExt cx="414321" cy="91688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1465428" y="5723666"/>
                <a:ext cx="90135" cy="91688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TextBox 20"/>
              <p:cNvSpPr txBox="1">
                <a:spLocks/>
              </p:cNvSpPr>
              <p:nvPr/>
            </p:nvSpPr>
            <p:spPr>
              <a:xfrm>
                <a:off x="1569024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" name="TextBox 21"/>
              <p:cNvSpPr txBox="1">
                <a:spLocks/>
              </p:cNvSpPr>
              <p:nvPr/>
            </p:nvSpPr>
            <p:spPr>
              <a:xfrm>
                <a:off x="1648696" y="5725066"/>
                <a:ext cx="73449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/>
              </p:cNvSpPr>
              <p:nvPr/>
            </p:nvSpPr>
            <p:spPr>
              <a:xfrm>
                <a:off x="1733195" y="5725066"/>
                <a:ext cx="74387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4" name="TextBox 23"/>
              <p:cNvSpPr txBox="1">
                <a:spLocks/>
              </p:cNvSpPr>
              <p:nvPr/>
            </p:nvSpPr>
            <p:spPr>
              <a:xfrm>
                <a:off x="1825131" y="5725066"/>
                <a:ext cx="54618" cy="89069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834187" y="5007328"/>
              <a:ext cx="2121961" cy="1172755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078427" y="5460984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  <a:endParaRPr lang="tr-TR" dirty="0"/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822960" y="640080"/>
            <a:ext cx="5585018" cy="2630356"/>
          </a:xfrm>
          <a:prstGeom prst="rect">
            <a:avLst/>
          </a:prstGeom>
        </p:spPr>
        <p:txBody>
          <a:bodyPr lIns="0" anchor="t"/>
          <a:lstStyle>
            <a:lvl1pPr algn="l">
              <a:lnSpc>
                <a:spcPct val="80000"/>
              </a:lnSpc>
              <a:defRPr sz="7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22960" y="3383280"/>
            <a:ext cx="5578857" cy="4318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 Level Title</a:t>
            </a:r>
            <a:endParaRPr lang="tr-TR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8427" y="5892928"/>
            <a:ext cx="2844943" cy="431800"/>
          </a:xfrm>
          <a:prstGeom prst="rect">
            <a:avLst/>
          </a:prstGeom>
        </p:spPr>
        <p:txBody>
          <a:bodyPr rIns="0" anchor="b"/>
          <a:lstStyle>
            <a:lvl1pPr algn="r">
              <a:defRPr sz="18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tr-TR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7751365" y="0"/>
            <a:ext cx="4440635" cy="3283083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 userDrawn="1"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7749344" y="3374405"/>
            <a:ext cx="4442656" cy="438517"/>
          </a:xfrm>
          <a:prstGeom prst="rect">
            <a:avLst/>
          </a:prstGeom>
        </p:spPr>
        <p:txBody>
          <a:bodyPr anchor="ctr"/>
          <a:lstStyle>
            <a:lvl1pPr marL="0" algn="ctr" defTabSz="914400" rtl="0" eaLnBrk="1" latinLnBrk="0" hangingPunct="1">
              <a:lnSpc>
                <a:spcPct val="85000"/>
              </a:lnSpc>
              <a:defRPr lang="en-US" sz="1600" b="1" kern="120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&lt;DIVISION NAME&gt;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860573B-7502-4EE6-AE67-B3B2FFD71F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2900" y="5931510"/>
            <a:ext cx="2192529" cy="292877"/>
            <a:chOff x="279400" y="2781300"/>
            <a:chExt cx="8585200" cy="1092200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64CBBCF-7D70-4513-96B2-BDE78A1B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CB55B7D8-3723-4CA7-83E2-4ECF2520F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66826270-096D-4A0F-B57D-78D557210E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D644210C-71FB-46C2-BB06-3DAD03BC8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BD464F9-CB86-4782-98A8-138D13B2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A8BDCE4-6FCC-47A7-9CDE-4AC06B36D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331AB147-689A-43A6-B970-E8CB2BE02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A8CC35E-627A-410D-9CC1-5DFD27072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A6104163-5896-46B6-AC7E-D2E4D25E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481FE757-1FA8-48AB-BF72-DF393E4A3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38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Pr>
        <a:solidFill>
          <a:srgbClr val="064E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01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90623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3" name="Rectangle 2"/>
          <p:cNvSpPr/>
          <p:nvPr userDrawn="1"/>
        </p:nvSpPr>
        <p:spPr>
          <a:xfrm flipH="1">
            <a:off x="4990624" y="0"/>
            <a:ext cx="157730" cy="6858000"/>
          </a:xfrm>
          <a:prstGeom prst="rect">
            <a:avLst/>
          </a:prstGeom>
          <a:solidFill>
            <a:srgbClr val="043A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148355" y="1"/>
            <a:ext cx="7042059" cy="2361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13191" y="1347025"/>
            <a:ext cx="6087634" cy="707944"/>
          </a:xfrm>
          <a:prstGeom prst="rect">
            <a:avLst/>
          </a:prstGeom>
        </p:spPr>
        <p:txBody>
          <a:bodyPr lIns="0" anchor="t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lang="en-US" sz="5400" b="1" i="0" kern="1200" baseline="0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713191" y="2623839"/>
            <a:ext cx="5578857" cy="431800"/>
          </a:xfrm>
          <a:prstGeom prst="rect">
            <a:avLst/>
          </a:prstGeom>
        </p:spPr>
        <p:txBody>
          <a:bodyPr lIns="0" anchor="t" anchorCtr="0"/>
          <a:lstStyle>
            <a:lvl1pPr algn="l">
              <a:defRPr sz="24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ge tit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1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681"/>
            <a:ext cx="11272838" cy="417486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443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flipH="1">
            <a:off x="-2" y="1549668"/>
            <a:ext cx="4297680" cy="530833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2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8"/>
          <p:cNvSpPr txBox="1">
            <a:spLocks/>
          </p:cNvSpPr>
          <p:nvPr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4" name="TextBox 33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53301" y="2011681"/>
            <a:ext cx="6976736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283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0" y="1554481"/>
            <a:ext cx="2743915" cy="53196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wrap="square" lIns="365760" tIns="91440" rIns="365760" bIns="182880" anchor="ctr">
            <a:noAutofit/>
          </a:bodyPr>
          <a:lstStyle/>
          <a:p>
            <a:endParaRPr lang="en-US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0579888" y="371026"/>
            <a:ext cx="1417689" cy="783522"/>
            <a:chOff x="10577133" y="371026"/>
            <a:chExt cx="1417320" cy="783522"/>
          </a:xfrm>
        </p:grpSpPr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11006005" y="633221"/>
              <a:ext cx="224154" cy="176024"/>
            </a:xfrm>
            <a:custGeom>
              <a:avLst/>
              <a:gdLst/>
              <a:ahLst/>
              <a:cxnLst/>
              <a:rect l="l" t="t" r="r" b="b"/>
              <a:pathLst>
                <a:path w="486642" h="382152">
                  <a:moveTo>
                    <a:pt x="150943" y="0"/>
                  </a:moveTo>
                  <a:cubicBezTo>
                    <a:pt x="191582" y="0"/>
                    <a:pt x="224490" y="12368"/>
                    <a:pt x="232082" y="39810"/>
                  </a:cubicBezTo>
                  <a:lnTo>
                    <a:pt x="232262" y="41192"/>
                  </a:lnTo>
                  <a:lnTo>
                    <a:pt x="244394" y="27828"/>
                  </a:lnTo>
                  <a:cubicBezTo>
                    <a:pt x="265912" y="9086"/>
                    <a:pt x="296328" y="0"/>
                    <a:pt x="331918" y="0"/>
                  </a:cubicBezTo>
                  <a:cubicBezTo>
                    <a:pt x="355140" y="0"/>
                    <a:pt x="375838" y="4038"/>
                    <a:pt x="390730" y="12620"/>
                  </a:cubicBezTo>
                  <a:lnTo>
                    <a:pt x="399550" y="19037"/>
                  </a:lnTo>
                  <a:lnTo>
                    <a:pt x="415123" y="9213"/>
                  </a:lnTo>
                  <a:cubicBezTo>
                    <a:pt x="421204" y="6846"/>
                    <a:pt x="427956" y="5553"/>
                    <a:pt x="435150" y="5553"/>
                  </a:cubicBezTo>
                  <a:cubicBezTo>
                    <a:pt x="464430" y="5553"/>
                    <a:pt x="486642" y="26250"/>
                    <a:pt x="486642" y="53511"/>
                  </a:cubicBezTo>
                  <a:cubicBezTo>
                    <a:pt x="486642" y="80772"/>
                    <a:pt x="464430" y="101974"/>
                    <a:pt x="435150" y="101974"/>
                  </a:cubicBezTo>
                  <a:cubicBezTo>
                    <a:pt x="420763" y="101974"/>
                    <a:pt x="408142" y="96674"/>
                    <a:pt x="399118" y="87965"/>
                  </a:cubicBezTo>
                  <a:lnTo>
                    <a:pt x="397141" y="85099"/>
                  </a:lnTo>
                  <a:lnTo>
                    <a:pt x="387023" y="90979"/>
                  </a:lnTo>
                  <a:cubicBezTo>
                    <a:pt x="381675" y="92887"/>
                    <a:pt x="375838" y="93897"/>
                    <a:pt x="369780" y="93897"/>
                  </a:cubicBezTo>
                  <a:cubicBezTo>
                    <a:pt x="355140" y="93897"/>
                    <a:pt x="342015" y="89354"/>
                    <a:pt x="335452" y="81781"/>
                  </a:cubicBezTo>
                  <a:cubicBezTo>
                    <a:pt x="350092" y="78247"/>
                    <a:pt x="359179" y="66132"/>
                    <a:pt x="359179" y="42910"/>
                  </a:cubicBezTo>
                  <a:cubicBezTo>
                    <a:pt x="359179" y="22717"/>
                    <a:pt x="350597" y="8077"/>
                    <a:pt x="331918" y="8077"/>
                  </a:cubicBezTo>
                  <a:cubicBezTo>
                    <a:pt x="308696" y="8077"/>
                    <a:pt x="300619" y="29784"/>
                    <a:pt x="300619" y="58054"/>
                  </a:cubicBezTo>
                  <a:lnTo>
                    <a:pt x="300619" y="132264"/>
                  </a:lnTo>
                  <a:lnTo>
                    <a:pt x="363217" y="132264"/>
                  </a:lnTo>
                  <a:lnTo>
                    <a:pt x="360693" y="144884"/>
                  </a:lnTo>
                  <a:lnTo>
                    <a:pt x="300619" y="144884"/>
                  </a:lnTo>
                  <a:lnTo>
                    <a:pt x="300619" y="327126"/>
                  </a:lnTo>
                  <a:cubicBezTo>
                    <a:pt x="300619" y="360445"/>
                    <a:pt x="312230" y="369027"/>
                    <a:pt x="339490" y="381142"/>
                  </a:cubicBezTo>
                  <a:lnTo>
                    <a:pt x="339490" y="382152"/>
                  </a:lnTo>
                  <a:lnTo>
                    <a:pt x="186529" y="382152"/>
                  </a:lnTo>
                  <a:lnTo>
                    <a:pt x="186529" y="381142"/>
                  </a:lnTo>
                  <a:cubicBezTo>
                    <a:pt x="208741" y="367007"/>
                    <a:pt x="210255" y="360445"/>
                    <a:pt x="210255" y="327126"/>
                  </a:cubicBezTo>
                  <a:lnTo>
                    <a:pt x="210255" y="144884"/>
                  </a:lnTo>
                  <a:lnTo>
                    <a:pt x="180976" y="144884"/>
                  </a:lnTo>
                  <a:lnTo>
                    <a:pt x="180976" y="139331"/>
                  </a:lnTo>
                  <a:lnTo>
                    <a:pt x="210255" y="128225"/>
                  </a:lnTo>
                  <a:lnTo>
                    <a:pt x="210255" y="113585"/>
                  </a:lnTo>
                  <a:lnTo>
                    <a:pt x="212504" y="87227"/>
                  </a:lnTo>
                  <a:lnTo>
                    <a:pt x="206048" y="90979"/>
                  </a:lnTo>
                  <a:cubicBezTo>
                    <a:pt x="200700" y="92887"/>
                    <a:pt x="194863" y="93897"/>
                    <a:pt x="188805" y="93897"/>
                  </a:cubicBezTo>
                  <a:cubicBezTo>
                    <a:pt x="174165" y="93897"/>
                    <a:pt x="161040" y="89354"/>
                    <a:pt x="154477" y="81781"/>
                  </a:cubicBezTo>
                  <a:cubicBezTo>
                    <a:pt x="169117" y="78247"/>
                    <a:pt x="178204" y="66132"/>
                    <a:pt x="178204" y="42910"/>
                  </a:cubicBezTo>
                  <a:cubicBezTo>
                    <a:pt x="178204" y="22717"/>
                    <a:pt x="169622" y="8077"/>
                    <a:pt x="150943" y="8077"/>
                  </a:cubicBezTo>
                  <a:cubicBezTo>
                    <a:pt x="127721" y="8077"/>
                    <a:pt x="119644" y="29784"/>
                    <a:pt x="119644" y="58054"/>
                  </a:cubicBezTo>
                  <a:lnTo>
                    <a:pt x="119644" y="132264"/>
                  </a:lnTo>
                  <a:lnTo>
                    <a:pt x="182242" y="132264"/>
                  </a:lnTo>
                  <a:lnTo>
                    <a:pt x="179718" y="144884"/>
                  </a:lnTo>
                  <a:lnTo>
                    <a:pt x="119644" y="144884"/>
                  </a:lnTo>
                  <a:lnTo>
                    <a:pt x="119644" y="327126"/>
                  </a:lnTo>
                  <a:cubicBezTo>
                    <a:pt x="119644" y="360445"/>
                    <a:pt x="131255" y="369027"/>
                    <a:pt x="158516" y="381142"/>
                  </a:cubicBezTo>
                  <a:lnTo>
                    <a:pt x="158516" y="382152"/>
                  </a:lnTo>
                  <a:lnTo>
                    <a:pt x="5554" y="382152"/>
                  </a:lnTo>
                  <a:lnTo>
                    <a:pt x="5554" y="381142"/>
                  </a:lnTo>
                  <a:cubicBezTo>
                    <a:pt x="27766" y="367007"/>
                    <a:pt x="29280" y="360445"/>
                    <a:pt x="29280" y="327126"/>
                  </a:cubicBezTo>
                  <a:lnTo>
                    <a:pt x="29280" y="144884"/>
                  </a:lnTo>
                  <a:lnTo>
                    <a:pt x="0" y="144884"/>
                  </a:lnTo>
                  <a:lnTo>
                    <a:pt x="0" y="139331"/>
                  </a:lnTo>
                  <a:lnTo>
                    <a:pt x="29280" y="128225"/>
                  </a:lnTo>
                  <a:lnTo>
                    <a:pt x="29280" y="113585"/>
                  </a:lnTo>
                  <a:cubicBezTo>
                    <a:pt x="29280" y="36347"/>
                    <a:pt x="79763" y="0"/>
                    <a:pt x="15094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>
              <a:spLocks/>
            </p:cNvSpPr>
            <p:nvPr/>
          </p:nvSpPr>
          <p:spPr>
            <a:xfrm>
              <a:off x="10825458" y="644149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11249402" y="691818"/>
              <a:ext cx="113009" cy="119752"/>
            </a:xfrm>
            <a:custGeom>
              <a:avLst/>
              <a:gdLst/>
              <a:ahLst/>
              <a:cxnLst/>
              <a:rect l="l" t="t" r="r" b="b"/>
              <a:pathLst>
                <a:path w="245345" h="259984">
                  <a:moveTo>
                    <a:pt x="144885" y="0"/>
                  </a:moveTo>
                  <a:cubicBezTo>
                    <a:pt x="199406" y="0"/>
                    <a:pt x="240297" y="23726"/>
                    <a:pt x="240297" y="65122"/>
                  </a:cubicBezTo>
                  <a:cubicBezTo>
                    <a:pt x="240297" y="95411"/>
                    <a:pt x="217075" y="111061"/>
                    <a:pt x="192843" y="111061"/>
                  </a:cubicBezTo>
                  <a:cubicBezTo>
                    <a:pt x="166087" y="111061"/>
                    <a:pt x="150438" y="96421"/>
                    <a:pt x="148923" y="81781"/>
                  </a:cubicBezTo>
                  <a:cubicBezTo>
                    <a:pt x="151952" y="82791"/>
                    <a:pt x="155486" y="83296"/>
                    <a:pt x="158010" y="83296"/>
                  </a:cubicBezTo>
                  <a:cubicBezTo>
                    <a:pt x="176689" y="83296"/>
                    <a:pt x="184261" y="67646"/>
                    <a:pt x="184261" y="48463"/>
                  </a:cubicBezTo>
                  <a:cubicBezTo>
                    <a:pt x="184261" y="24231"/>
                    <a:pt x="171136" y="8582"/>
                    <a:pt x="145894" y="8582"/>
                  </a:cubicBezTo>
                  <a:cubicBezTo>
                    <a:pt x="110557" y="8582"/>
                    <a:pt x="93897" y="54016"/>
                    <a:pt x="93897" y="112575"/>
                  </a:cubicBezTo>
                  <a:cubicBezTo>
                    <a:pt x="93897" y="181737"/>
                    <a:pt x="124692" y="218589"/>
                    <a:pt x="171640" y="218589"/>
                  </a:cubicBezTo>
                  <a:cubicBezTo>
                    <a:pt x="200415" y="218589"/>
                    <a:pt x="226666" y="204958"/>
                    <a:pt x="242316" y="173659"/>
                  </a:cubicBezTo>
                  <a:lnTo>
                    <a:pt x="245345" y="175174"/>
                  </a:lnTo>
                  <a:cubicBezTo>
                    <a:pt x="231210" y="229190"/>
                    <a:pt x="185775" y="259984"/>
                    <a:pt x="129740" y="259984"/>
                  </a:cubicBezTo>
                  <a:cubicBezTo>
                    <a:pt x="60074" y="259984"/>
                    <a:pt x="0" y="213036"/>
                    <a:pt x="0" y="134788"/>
                  </a:cubicBezTo>
                  <a:cubicBezTo>
                    <a:pt x="0" y="49977"/>
                    <a:pt x="63608" y="0"/>
                    <a:pt x="14488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>
              <a:spLocks/>
            </p:cNvSpPr>
            <p:nvPr/>
          </p:nvSpPr>
          <p:spPr>
            <a:xfrm>
              <a:off x="11372247" y="691818"/>
              <a:ext cx="116032" cy="119752"/>
            </a:xfrm>
            <a:custGeom>
              <a:avLst/>
              <a:gdLst/>
              <a:ahLst/>
              <a:cxnLst/>
              <a:rect l="l" t="t" r="r" b="b"/>
              <a:pathLst>
                <a:path w="251908" h="259984">
                  <a:moveTo>
                    <a:pt x="132264" y="0"/>
                  </a:moveTo>
                  <a:cubicBezTo>
                    <a:pt x="213541" y="0"/>
                    <a:pt x="251908" y="51996"/>
                    <a:pt x="251908" y="118633"/>
                  </a:cubicBezTo>
                  <a:lnTo>
                    <a:pt x="91373" y="118633"/>
                  </a:lnTo>
                  <a:cubicBezTo>
                    <a:pt x="91373" y="181232"/>
                    <a:pt x="124187" y="218589"/>
                    <a:pt x="172650" y="218589"/>
                  </a:cubicBezTo>
                  <a:cubicBezTo>
                    <a:pt x="203444" y="218589"/>
                    <a:pt x="230200" y="204958"/>
                    <a:pt x="245850" y="173659"/>
                  </a:cubicBezTo>
                  <a:lnTo>
                    <a:pt x="249383" y="175174"/>
                  </a:lnTo>
                  <a:cubicBezTo>
                    <a:pt x="234744" y="229190"/>
                    <a:pt x="189309" y="259984"/>
                    <a:pt x="131759" y="259984"/>
                  </a:cubicBezTo>
                  <a:cubicBezTo>
                    <a:pt x="59569" y="259984"/>
                    <a:pt x="0" y="212531"/>
                    <a:pt x="0" y="130244"/>
                  </a:cubicBezTo>
                  <a:cubicBezTo>
                    <a:pt x="0" y="50987"/>
                    <a:pt x="60074" y="0"/>
                    <a:pt x="132264" y="0"/>
                  </a:cubicBezTo>
                  <a:close/>
                  <a:moveTo>
                    <a:pt x="132264" y="8582"/>
                  </a:moveTo>
                  <a:cubicBezTo>
                    <a:pt x="106013" y="8582"/>
                    <a:pt x="92888" y="48463"/>
                    <a:pt x="91878" y="108032"/>
                  </a:cubicBezTo>
                  <a:lnTo>
                    <a:pt x="165078" y="108032"/>
                  </a:lnTo>
                  <a:cubicBezTo>
                    <a:pt x="165078" y="51492"/>
                    <a:pt x="161039" y="8582"/>
                    <a:pt x="132264" y="85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11173887" y="694143"/>
              <a:ext cx="64875" cy="115102"/>
            </a:xfrm>
            <a:custGeom>
              <a:avLst/>
              <a:gdLst/>
              <a:ahLst/>
              <a:cxnLst/>
              <a:rect l="l" t="t" r="r" b="b"/>
              <a:pathLst>
                <a:path w="140846" h="249888">
                  <a:moveTo>
                    <a:pt x="0" y="0"/>
                  </a:moveTo>
                  <a:lnTo>
                    <a:pt x="117119" y="0"/>
                  </a:lnTo>
                  <a:lnTo>
                    <a:pt x="117119" y="194862"/>
                  </a:lnTo>
                  <a:cubicBezTo>
                    <a:pt x="117119" y="228181"/>
                    <a:pt x="118633" y="234743"/>
                    <a:pt x="140846" y="248878"/>
                  </a:cubicBezTo>
                  <a:lnTo>
                    <a:pt x="140846" y="249888"/>
                  </a:lnTo>
                  <a:lnTo>
                    <a:pt x="3029" y="249888"/>
                  </a:lnTo>
                  <a:lnTo>
                    <a:pt x="3029" y="248878"/>
                  </a:lnTo>
                  <a:cubicBezTo>
                    <a:pt x="25241" y="234743"/>
                    <a:pt x="26755" y="228181"/>
                    <a:pt x="26755" y="194862"/>
                  </a:cubicBezTo>
                  <a:lnTo>
                    <a:pt x="26755" y="56035"/>
                  </a:lnTo>
                  <a:cubicBezTo>
                    <a:pt x="26755" y="21707"/>
                    <a:pt x="23726" y="14640"/>
                    <a:pt x="0" y="10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11295676" y="842826"/>
              <a:ext cx="149051" cy="167421"/>
            </a:xfrm>
            <a:custGeom>
              <a:avLst/>
              <a:gdLst/>
              <a:ahLst/>
              <a:cxnLst/>
              <a:rect l="l" t="t" r="r" b="b"/>
              <a:pathLst>
                <a:path w="323593" h="363474">
                  <a:moveTo>
                    <a:pt x="190319" y="0"/>
                  </a:moveTo>
                  <a:cubicBezTo>
                    <a:pt x="236258" y="0"/>
                    <a:pt x="260994" y="15145"/>
                    <a:pt x="277653" y="15145"/>
                  </a:cubicBezTo>
                  <a:cubicBezTo>
                    <a:pt x="291284" y="15145"/>
                    <a:pt x="299866" y="9087"/>
                    <a:pt x="310467" y="0"/>
                  </a:cubicBezTo>
                  <a:lnTo>
                    <a:pt x="314001" y="120149"/>
                  </a:lnTo>
                  <a:lnTo>
                    <a:pt x="312991" y="120149"/>
                  </a:lnTo>
                  <a:cubicBezTo>
                    <a:pt x="287750" y="56541"/>
                    <a:pt x="250393" y="11107"/>
                    <a:pt x="199910" y="11107"/>
                  </a:cubicBezTo>
                  <a:cubicBezTo>
                    <a:pt x="137312" y="11107"/>
                    <a:pt x="101974" y="80268"/>
                    <a:pt x="101974" y="164573"/>
                  </a:cubicBezTo>
                  <a:cubicBezTo>
                    <a:pt x="101974" y="260490"/>
                    <a:pt x="155486" y="315011"/>
                    <a:pt x="221113" y="315011"/>
                  </a:cubicBezTo>
                  <a:cubicBezTo>
                    <a:pt x="263014" y="315011"/>
                    <a:pt x="297846" y="300371"/>
                    <a:pt x="320564" y="252918"/>
                  </a:cubicBezTo>
                  <a:lnTo>
                    <a:pt x="323593" y="253927"/>
                  </a:lnTo>
                  <a:cubicBezTo>
                    <a:pt x="306428" y="321574"/>
                    <a:pt x="252412" y="363474"/>
                    <a:pt x="173660" y="363474"/>
                  </a:cubicBezTo>
                  <a:cubicBezTo>
                    <a:pt x="74209" y="363474"/>
                    <a:pt x="0" y="293304"/>
                    <a:pt x="0" y="186786"/>
                  </a:cubicBezTo>
                  <a:cubicBezTo>
                    <a:pt x="0" y="76229"/>
                    <a:pt x="85820" y="0"/>
                    <a:pt x="19031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31"/>
            <p:cNvSpPr txBox="1">
              <a:spLocks/>
            </p:cNvSpPr>
            <p:nvPr/>
          </p:nvSpPr>
          <p:spPr>
            <a:xfrm>
              <a:off x="11637888" y="842826"/>
              <a:ext cx="167188" cy="167421"/>
            </a:xfrm>
            <a:custGeom>
              <a:avLst/>
              <a:gdLst/>
              <a:ahLst/>
              <a:cxnLst/>
              <a:rect l="l" t="t" r="r" b="b"/>
              <a:pathLst>
                <a:path w="362969" h="363474">
                  <a:moveTo>
                    <a:pt x="181737" y="0"/>
                  </a:moveTo>
                  <a:cubicBezTo>
                    <a:pt x="285731" y="0"/>
                    <a:pt x="362969" y="75724"/>
                    <a:pt x="362969" y="181737"/>
                  </a:cubicBezTo>
                  <a:cubicBezTo>
                    <a:pt x="362969" y="287751"/>
                    <a:pt x="285731" y="363474"/>
                    <a:pt x="181737" y="363474"/>
                  </a:cubicBezTo>
                  <a:cubicBezTo>
                    <a:pt x="77238" y="363474"/>
                    <a:pt x="0" y="287751"/>
                    <a:pt x="0" y="181737"/>
                  </a:cubicBezTo>
                  <a:cubicBezTo>
                    <a:pt x="0" y="75724"/>
                    <a:pt x="77238" y="0"/>
                    <a:pt x="181737" y="0"/>
                  </a:cubicBezTo>
                  <a:close/>
                  <a:moveTo>
                    <a:pt x="181737" y="10097"/>
                  </a:moveTo>
                  <a:cubicBezTo>
                    <a:pt x="123682" y="10097"/>
                    <a:pt x="103994" y="70676"/>
                    <a:pt x="103994" y="181737"/>
                  </a:cubicBezTo>
                  <a:cubicBezTo>
                    <a:pt x="103994" y="292799"/>
                    <a:pt x="123682" y="353378"/>
                    <a:pt x="181737" y="353378"/>
                  </a:cubicBezTo>
                  <a:cubicBezTo>
                    <a:pt x="239287" y="353378"/>
                    <a:pt x="258975" y="292799"/>
                    <a:pt x="258975" y="181737"/>
                  </a:cubicBezTo>
                  <a:cubicBezTo>
                    <a:pt x="258975" y="70676"/>
                    <a:pt x="239287" y="10097"/>
                    <a:pt x="181737" y="1009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>
              <a:spLocks/>
            </p:cNvSpPr>
            <p:nvPr/>
          </p:nvSpPr>
          <p:spPr>
            <a:xfrm>
              <a:off x="11454751" y="843059"/>
              <a:ext cx="172072" cy="164863"/>
            </a:xfrm>
            <a:custGeom>
              <a:avLst/>
              <a:gdLst/>
              <a:ahLst/>
              <a:cxnLst/>
              <a:rect l="l" t="t" r="r" b="b"/>
              <a:pathLst>
                <a:path w="373571" h="357921">
                  <a:moveTo>
                    <a:pt x="17164" y="0"/>
                  </a:moveTo>
                  <a:cubicBezTo>
                    <a:pt x="24232" y="3534"/>
                    <a:pt x="35338" y="4544"/>
                    <a:pt x="52502" y="4544"/>
                  </a:cubicBezTo>
                  <a:lnTo>
                    <a:pt x="321069" y="4544"/>
                  </a:lnTo>
                  <a:cubicBezTo>
                    <a:pt x="338233" y="4544"/>
                    <a:pt x="349339" y="3534"/>
                    <a:pt x="356407" y="0"/>
                  </a:cubicBezTo>
                  <a:lnTo>
                    <a:pt x="373571" y="119644"/>
                  </a:lnTo>
                  <a:lnTo>
                    <a:pt x="372561" y="119644"/>
                  </a:lnTo>
                  <a:cubicBezTo>
                    <a:pt x="329651" y="50988"/>
                    <a:pt x="309963" y="17669"/>
                    <a:pt x="255946" y="17669"/>
                  </a:cubicBezTo>
                  <a:lnTo>
                    <a:pt x="234239" y="17669"/>
                  </a:lnTo>
                  <a:lnTo>
                    <a:pt x="234239" y="297847"/>
                  </a:lnTo>
                  <a:cubicBezTo>
                    <a:pt x="234239" y="331165"/>
                    <a:pt x="240802" y="342272"/>
                    <a:pt x="263014" y="356912"/>
                  </a:cubicBezTo>
                  <a:lnTo>
                    <a:pt x="263014" y="357921"/>
                  </a:lnTo>
                  <a:lnTo>
                    <a:pt x="110557" y="357921"/>
                  </a:lnTo>
                  <a:lnTo>
                    <a:pt x="110557" y="356912"/>
                  </a:lnTo>
                  <a:cubicBezTo>
                    <a:pt x="133274" y="342272"/>
                    <a:pt x="139332" y="331165"/>
                    <a:pt x="139332" y="297847"/>
                  </a:cubicBezTo>
                  <a:lnTo>
                    <a:pt x="139332" y="17669"/>
                  </a:lnTo>
                  <a:lnTo>
                    <a:pt x="117624" y="17669"/>
                  </a:lnTo>
                  <a:cubicBezTo>
                    <a:pt x="63608" y="17669"/>
                    <a:pt x="43920" y="50988"/>
                    <a:pt x="1010" y="119644"/>
                  </a:cubicBezTo>
                  <a:lnTo>
                    <a:pt x="0" y="119644"/>
                  </a:lnTo>
                  <a:lnTo>
                    <a:pt x="171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999013" y="849614"/>
              <a:ext cx="276809" cy="61257"/>
              <a:chOff x="10999013" y="849614"/>
              <a:chExt cx="276809" cy="61257"/>
            </a:xfrm>
            <a:solidFill>
              <a:schemeClr val="accent3"/>
            </a:solidFill>
          </p:grpSpPr>
          <p:sp>
            <p:nvSpPr>
              <p:cNvPr id="35" name="TextBox 34"/>
              <p:cNvSpPr txBox="1">
                <a:spLocks/>
              </p:cNvSpPr>
              <p:nvPr/>
            </p:nvSpPr>
            <p:spPr>
              <a:xfrm>
                <a:off x="10999013" y="849614"/>
                <a:ext cx="60220" cy="61257"/>
              </a:xfrm>
              <a:custGeom>
                <a:avLst/>
                <a:gdLst/>
                <a:ahLst/>
                <a:cxnLst/>
                <a:rect l="l" t="t" r="r" b="b"/>
                <a:pathLst>
                  <a:path w="130738" h="132991">
                    <a:moveTo>
                      <a:pt x="65709" y="0"/>
                    </a:moveTo>
                    <a:cubicBezTo>
                      <a:pt x="86122" y="0"/>
                      <a:pt x="102063" y="5891"/>
                      <a:pt x="113533" y="17673"/>
                    </a:cubicBezTo>
                    <a:cubicBezTo>
                      <a:pt x="125003" y="29455"/>
                      <a:pt x="130738" y="45715"/>
                      <a:pt x="130738" y="66451"/>
                    </a:cubicBezTo>
                    <a:cubicBezTo>
                      <a:pt x="130738" y="87129"/>
                      <a:pt x="124987" y="103389"/>
                      <a:pt x="113485" y="115230"/>
                    </a:cubicBezTo>
                    <a:cubicBezTo>
                      <a:pt x="101982" y="127071"/>
                      <a:pt x="85992" y="132991"/>
                      <a:pt x="65515" y="132991"/>
                    </a:cubicBezTo>
                    <a:cubicBezTo>
                      <a:pt x="44584" y="132991"/>
                      <a:pt x="28432" y="127174"/>
                      <a:pt x="17059" y="115539"/>
                    </a:cubicBezTo>
                    <a:cubicBezTo>
                      <a:pt x="5686" y="103904"/>
                      <a:pt x="0" y="87483"/>
                      <a:pt x="0" y="66275"/>
                    </a:cubicBezTo>
                    <a:cubicBezTo>
                      <a:pt x="0" y="45243"/>
                      <a:pt x="5702" y="28940"/>
                      <a:pt x="17107" y="17364"/>
                    </a:cubicBezTo>
                    <a:cubicBezTo>
                      <a:pt x="28513" y="5788"/>
                      <a:pt x="44713" y="0"/>
                      <a:pt x="65709" y="0"/>
                    </a:cubicBezTo>
                    <a:close/>
                    <a:moveTo>
                      <a:pt x="65709" y="13431"/>
                    </a:moveTo>
                    <a:cubicBezTo>
                      <a:pt x="49962" y="13431"/>
                      <a:pt x="37990" y="17953"/>
                      <a:pt x="29793" y="26996"/>
                    </a:cubicBezTo>
                    <a:cubicBezTo>
                      <a:pt x="21595" y="36038"/>
                      <a:pt x="17496" y="49190"/>
                      <a:pt x="17496" y="66451"/>
                    </a:cubicBezTo>
                    <a:cubicBezTo>
                      <a:pt x="17496" y="83948"/>
                      <a:pt x="21595" y="97218"/>
                      <a:pt x="29793" y="106261"/>
                    </a:cubicBezTo>
                    <a:cubicBezTo>
                      <a:pt x="37990" y="115303"/>
                      <a:pt x="49897" y="119825"/>
                      <a:pt x="65515" y="119825"/>
                    </a:cubicBezTo>
                    <a:cubicBezTo>
                      <a:pt x="81262" y="119825"/>
                      <a:pt x="93153" y="115318"/>
                      <a:pt x="101188" y="106305"/>
                    </a:cubicBezTo>
                    <a:cubicBezTo>
                      <a:pt x="109224" y="97291"/>
                      <a:pt x="113242" y="84007"/>
                      <a:pt x="113242" y="66451"/>
                    </a:cubicBezTo>
                    <a:cubicBezTo>
                      <a:pt x="113242" y="49073"/>
                      <a:pt x="109240" y="35891"/>
                      <a:pt x="101237" y="26907"/>
                    </a:cubicBezTo>
                    <a:cubicBezTo>
                      <a:pt x="93234" y="17923"/>
                      <a:pt x="81391" y="13431"/>
                      <a:pt x="65709" y="134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11068225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60620"/>
                    </a:lnTo>
                    <a:lnTo>
                      <a:pt x="75430" y="60620"/>
                    </a:lnTo>
                    <a:lnTo>
                      <a:pt x="75430" y="73963"/>
                    </a:lnTo>
                    <a:lnTo>
                      <a:pt x="16525" y="73963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11121455" y="850549"/>
                <a:ext cx="49071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6535" h="129192">
                    <a:moveTo>
                      <a:pt x="0" y="0"/>
                    </a:moveTo>
                    <a:lnTo>
                      <a:pt x="106535" y="0"/>
                    </a:lnTo>
                    <a:lnTo>
                      <a:pt x="106535" y="13343"/>
                    </a:lnTo>
                    <a:lnTo>
                      <a:pt x="61530" y="13343"/>
                    </a:lnTo>
                    <a:lnTo>
                      <a:pt x="61530" y="129192"/>
                    </a:lnTo>
                    <a:lnTo>
                      <a:pt x="45005" y="129192"/>
                    </a:lnTo>
                    <a:lnTo>
                      <a:pt x="45005" y="13343"/>
                    </a:lnTo>
                    <a:lnTo>
                      <a:pt x="0" y="133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TextBox 37"/>
              <p:cNvSpPr txBox="1">
                <a:spLocks/>
              </p:cNvSpPr>
              <p:nvPr/>
            </p:nvSpPr>
            <p:spPr>
              <a:xfrm>
                <a:off x="11177909" y="850549"/>
                <a:ext cx="49698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107896" h="129192">
                    <a:moveTo>
                      <a:pt x="0" y="0"/>
                    </a:moveTo>
                    <a:lnTo>
                      <a:pt x="16525" y="0"/>
                    </a:lnTo>
                    <a:lnTo>
                      <a:pt x="16525" y="54964"/>
                    </a:lnTo>
                    <a:lnTo>
                      <a:pt x="91371" y="54964"/>
                    </a:lnTo>
                    <a:lnTo>
                      <a:pt x="91371" y="0"/>
                    </a:lnTo>
                    <a:lnTo>
                      <a:pt x="107896" y="0"/>
                    </a:lnTo>
                    <a:lnTo>
                      <a:pt x="107896" y="129192"/>
                    </a:lnTo>
                    <a:lnTo>
                      <a:pt x="91371" y="129192"/>
                    </a:lnTo>
                    <a:lnTo>
                      <a:pt x="91371" y="68396"/>
                    </a:lnTo>
                    <a:lnTo>
                      <a:pt x="16525" y="68396"/>
                    </a:lnTo>
                    <a:lnTo>
                      <a:pt x="16525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11239332" y="850549"/>
                <a:ext cx="36490" cy="59507"/>
              </a:xfrm>
              <a:custGeom>
                <a:avLst/>
                <a:gdLst/>
                <a:ahLst/>
                <a:cxnLst/>
                <a:rect l="l" t="t" r="r" b="b"/>
                <a:pathLst>
                  <a:path w="79221" h="129192">
                    <a:moveTo>
                      <a:pt x="0" y="0"/>
                    </a:moveTo>
                    <a:lnTo>
                      <a:pt x="79221" y="0"/>
                    </a:lnTo>
                    <a:lnTo>
                      <a:pt x="79221" y="13343"/>
                    </a:lnTo>
                    <a:lnTo>
                      <a:pt x="16525" y="13343"/>
                    </a:lnTo>
                    <a:lnTo>
                      <a:pt x="16525" y="54964"/>
                    </a:lnTo>
                    <a:lnTo>
                      <a:pt x="75430" y="54964"/>
                    </a:lnTo>
                    <a:lnTo>
                      <a:pt x="75430" y="68219"/>
                    </a:lnTo>
                    <a:lnTo>
                      <a:pt x="16525" y="68219"/>
                    </a:lnTo>
                    <a:lnTo>
                      <a:pt x="16525" y="115760"/>
                    </a:lnTo>
                    <a:lnTo>
                      <a:pt x="79221" y="115760"/>
                    </a:lnTo>
                    <a:lnTo>
                      <a:pt x="79221" y="129192"/>
                    </a:lnTo>
                    <a:lnTo>
                      <a:pt x="0" y="1291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Tx/>
                  <a:buNone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  <a:lvl2pPr marL="200025" indent="-200025" algn="l" defTabSz="914400" rtl="0" eaLnBrk="1" latinLnBrk="0" hangingPunct="1">
                  <a:spcBef>
                    <a:spcPts val="12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2pPr>
                <a:lvl3pPr marL="398463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3pPr>
                <a:lvl4pPr marL="622300" indent="-200025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Arial" pitchFamily="34" charset="0"/>
                  <a:buChar char="•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4pPr>
                <a:lvl5pPr marL="806450" indent="-182563" algn="l" defTabSz="914400" rtl="0" eaLnBrk="1" latinLnBrk="0" hangingPunct="1">
                  <a:spcBef>
                    <a:spcPts val="300"/>
                  </a:spcBef>
                  <a:spcAft>
                    <a:spcPts val="0"/>
                  </a:spcAft>
                  <a:buClrTx/>
                  <a:buFont typeface="Lucida Grande"/>
                  <a:buChar char="-"/>
                  <a:tabLst>
                    <a:tab pos="1201738" algn="l"/>
                  </a:tabLst>
                  <a:defRPr sz="1800" b="0" i="0" kern="1200">
                    <a:solidFill>
                      <a:schemeClr val="tx2"/>
                    </a:solidFill>
                    <a:latin typeface="+mn-lt"/>
                    <a:ea typeface="Open Sans" panose="020B0606030504020204" pitchFamily="34" charset="0"/>
                    <a:cs typeface="Open Sans" panose="020B0606030504020204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ea typeface="Domaine Display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10577133" y="371026"/>
              <a:ext cx="1417320" cy="783522"/>
            </a:xfrm>
            <a:custGeom>
              <a:avLst/>
              <a:gdLst>
                <a:gd name="T0" fmla="*/ 279 w 326"/>
                <a:gd name="T1" fmla="*/ 180 h 180"/>
                <a:gd name="T2" fmla="*/ 271 w 326"/>
                <a:gd name="T3" fmla="*/ 179 h 180"/>
                <a:gd name="T4" fmla="*/ 45 w 326"/>
                <a:gd name="T5" fmla="*/ 179 h 180"/>
                <a:gd name="T6" fmla="*/ 6 w 326"/>
                <a:gd name="T7" fmla="*/ 153 h 180"/>
                <a:gd name="T8" fmla="*/ 0 w 326"/>
                <a:gd name="T9" fmla="*/ 129 h 180"/>
                <a:gd name="T10" fmla="*/ 32 w 326"/>
                <a:gd name="T11" fmla="*/ 82 h 180"/>
                <a:gd name="T12" fmla="*/ 30 w 326"/>
                <a:gd name="T13" fmla="*/ 70 h 180"/>
                <a:gd name="T14" fmla="*/ 100 w 326"/>
                <a:gd name="T15" fmla="*/ 0 h 180"/>
                <a:gd name="T16" fmla="*/ 154 w 326"/>
                <a:gd name="T17" fmla="*/ 26 h 180"/>
                <a:gd name="T18" fmla="*/ 187 w 326"/>
                <a:gd name="T19" fmla="*/ 16 h 180"/>
                <a:gd name="T20" fmla="*/ 242 w 326"/>
                <a:gd name="T21" fmla="*/ 55 h 180"/>
                <a:gd name="T22" fmla="*/ 245 w 326"/>
                <a:gd name="T23" fmla="*/ 54 h 180"/>
                <a:gd name="T24" fmla="*/ 280 w 326"/>
                <a:gd name="T25" fmla="*/ 85 h 180"/>
                <a:gd name="T26" fmla="*/ 326 w 326"/>
                <a:gd name="T27" fmla="*/ 132 h 180"/>
                <a:gd name="T28" fmla="*/ 279 w 326"/>
                <a:gd name="T29" fmla="*/ 180 h 180"/>
                <a:gd name="T30" fmla="*/ 100 w 326"/>
                <a:gd name="T31" fmla="*/ 4 h 180"/>
                <a:gd name="T32" fmla="*/ 34 w 326"/>
                <a:gd name="T33" fmla="*/ 70 h 180"/>
                <a:gd name="T34" fmla="*/ 36 w 326"/>
                <a:gd name="T35" fmla="*/ 83 h 180"/>
                <a:gd name="T36" fmla="*/ 36 w 326"/>
                <a:gd name="T37" fmla="*/ 85 h 180"/>
                <a:gd name="T38" fmla="*/ 35 w 326"/>
                <a:gd name="T39" fmla="*/ 86 h 180"/>
                <a:gd name="T40" fmla="*/ 4 w 326"/>
                <a:gd name="T41" fmla="*/ 129 h 180"/>
                <a:gd name="T42" fmla="*/ 10 w 326"/>
                <a:gd name="T43" fmla="*/ 151 h 180"/>
                <a:gd name="T44" fmla="*/ 10 w 326"/>
                <a:gd name="T45" fmla="*/ 151 h 180"/>
                <a:gd name="T46" fmla="*/ 45 w 326"/>
                <a:gd name="T47" fmla="*/ 175 h 180"/>
                <a:gd name="T48" fmla="*/ 271 w 326"/>
                <a:gd name="T49" fmla="*/ 175 h 180"/>
                <a:gd name="T50" fmla="*/ 272 w 326"/>
                <a:gd name="T51" fmla="*/ 175 h 180"/>
                <a:gd name="T52" fmla="*/ 279 w 326"/>
                <a:gd name="T53" fmla="*/ 176 h 180"/>
                <a:gd name="T54" fmla="*/ 322 w 326"/>
                <a:gd name="T55" fmla="*/ 132 h 180"/>
                <a:gd name="T56" fmla="*/ 279 w 326"/>
                <a:gd name="T57" fmla="*/ 89 h 180"/>
                <a:gd name="T58" fmla="*/ 278 w 326"/>
                <a:gd name="T59" fmla="*/ 89 h 180"/>
                <a:gd name="T60" fmla="*/ 276 w 326"/>
                <a:gd name="T61" fmla="*/ 89 h 180"/>
                <a:gd name="T62" fmla="*/ 276 w 326"/>
                <a:gd name="T63" fmla="*/ 87 h 180"/>
                <a:gd name="T64" fmla="*/ 245 w 326"/>
                <a:gd name="T65" fmla="*/ 58 h 180"/>
                <a:gd name="T66" fmla="*/ 240 w 326"/>
                <a:gd name="T67" fmla="*/ 59 h 180"/>
                <a:gd name="T68" fmla="*/ 239 w 326"/>
                <a:gd name="T69" fmla="*/ 59 h 180"/>
                <a:gd name="T70" fmla="*/ 238 w 326"/>
                <a:gd name="T71" fmla="*/ 57 h 180"/>
                <a:gd name="T72" fmla="*/ 187 w 326"/>
                <a:gd name="T73" fmla="*/ 20 h 180"/>
                <a:gd name="T74" fmla="*/ 155 w 326"/>
                <a:gd name="T75" fmla="*/ 30 h 180"/>
                <a:gd name="T76" fmla="*/ 153 w 326"/>
                <a:gd name="T77" fmla="*/ 31 h 180"/>
                <a:gd name="T78" fmla="*/ 152 w 326"/>
                <a:gd name="T79" fmla="*/ 30 h 180"/>
                <a:gd name="T80" fmla="*/ 100 w 326"/>
                <a:gd name="T8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26" h="180">
                  <a:moveTo>
                    <a:pt x="279" y="180"/>
                  </a:moveTo>
                  <a:cubicBezTo>
                    <a:pt x="276" y="180"/>
                    <a:pt x="274" y="179"/>
                    <a:pt x="271" y="179"/>
                  </a:cubicBezTo>
                  <a:cubicBezTo>
                    <a:pt x="45" y="179"/>
                    <a:pt x="45" y="179"/>
                    <a:pt x="45" y="179"/>
                  </a:cubicBezTo>
                  <a:cubicBezTo>
                    <a:pt x="28" y="179"/>
                    <a:pt x="13" y="169"/>
                    <a:pt x="6" y="153"/>
                  </a:cubicBezTo>
                  <a:cubicBezTo>
                    <a:pt x="2" y="146"/>
                    <a:pt x="0" y="137"/>
                    <a:pt x="0" y="129"/>
                  </a:cubicBezTo>
                  <a:cubicBezTo>
                    <a:pt x="0" y="109"/>
                    <a:pt x="13" y="90"/>
                    <a:pt x="32" y="82"/>
                  </a:cubicBezTo>
                  <a:cubicBezTo>
                    <a:pt x="31" y="78"/>
                    <a:pt x="30" y="74"/>
                    <a:pt x="30" y="70"/>
                  </a:cubicBezTo>
                  <a:cubicBezTo>
                    <a:pt x="30" y="32"/>
                    <a:pt x="62" y="0"/>
                    <a:pt x="100" y="0"/>
                  </a:cubicBezTo>
                  <a:cubicBezTo>
                    <a:pt x="121" y="0"/>
                    <a:pt x="141" y="10"/>
                    <a:pt x="154" y="26"/>
                  </a:cubicBezTo>
                  <a:cubicBezTo>
                    <a:pt x="164" y="19"/>
                    <a:pt x="175" y="16"/>
                    <a:pt x="187" y="16"/>
                  </a:cubicBezTo>
                  <a:cubicBezTo>
                    <a:pt x="212" y="16"/>
                    <a:pt x="233" y="31"/>
                    <a:pt x="242" y="55"/>
                  </a:cubicBezTo>
                  <a:cubicBezTo>
                    <a:pt x="243" y="54"/>
                    <a:pt x="244" y="54"/>
                    <a:pt x="245" y="54"/>
                  </a:cubicBezTo>
                  <a:cubicBezTo>
                    <a:pt x="263" y="54"/>
                    <a:pt x="278" y="68"/>
                    <a:pt x="280" y="85"/>
                  </a:cubicBezTo>
                  <a:cubicBezTo>
                    <a:pt x="305" y="86"/>
                    <a:pt x="326" y="107"/>
                    <a:pt x="326" y="132"/>
                  </a:cubicBezTo>
                  <a:cubicBezTo>
                    <a:pt x="326" y="158"/>
                    <a:pt x="305" y="180"/>
                    <a:pt x="279" y="180"/>
                  </a:cubicBezTo>
                  <a:close/>
                  <a:moveTo>
                    <a:pt x="100" y="4"/>
                  </a:moveTo>
                  <a:cubicBezTo>
                    <a:pt x="64" y="4"/>
                    <a:pt x="34" y="34"/>
                    <a:pt x="34" y="70"/>
                  </a:cubicBezTo>
                  <a:cubicBezTo>
                    <a:pt x="34" y="75"/>
                    <a:pt x="35" y="79"/>
                    <a:pt x="36" y="83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16" y="92"/>
                    <a:pt x="4" y="110"/>
                    <a:pt x="4" y="129"/>
                  </a:cubicBezTo>
                  <a:cubicBezTo>
                    <a:pt x="4" y="137"/>
                    <a:pt x="6" y="144"/>
                    <a:pt x="10" y="151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6" y="166"/>
                    <a:pt x="30" y="175"/>
                    <a:pt x="45" y="175"/>
                  </a:cubicBezTo>
                  <a:cubicBezTo>
                    <a:pt x="271" y="175"/>
                    <a:pt x="271" y="175"/>
                    <a:pt x="271" y="175"/>
                  </a:cubicBezTo>
                  <a:cubicBezTo>
                    <a:pt x="272" y="175"/>
                    <a:pt x="272" y="175"/>
                    <a:pt x="272" y="175"/>
                  </a:cubicBezTo>
                  <a:cubicBezTo>
                    <a:pt x="274" y="175"/>
                    <a:pt x="276" y="176"/>
                    <a:pt x="279" y="176"/>
                  </a:cubicBezTo>
                  <a:cubicBezTo>
                    <a:pt x="303" y="176"/>
                    <a:pt x="322" y="156"/>
                    <a:pt x="322" y="132"/>
                  </a:cubicBezTo>
                  <a:cubicBezTo>
                    <a:pt x="322" y="109"/>
                    <a:pt x="303" y="89"/>
                    <a:pt x="279" y="89"/>
                  </a:cubicBezTo>
                  <a:cubicBezTo>
                    <a:pt x="279" y="89"/>
                    <a:pt x="278" y="89"/>
                    <a:pt x="278" y="89"/>
                  </a:cubicBezTo>
                  <a:cubicBezTo>
                    <a:pt x="276" y="89"/>
                    <a:pt x="276" y="89"/>
                    <a:pt x="276" y="89"/>
                  </a:cubicBezTo>
                  <a:cubicBezTo>
                    <a:pt x="276" y="87"/>
                    <a:pt x="276" y="87"/>
                    <a:pt x="276" y="87"/>
                  </a:cubicBezTo>
                  <a:cubicBezTo>
                    <a:pt x="275" y="71"/>
                    <a:pt x="261" y="58"/>
                    <a:pt x="245" y="58"/>
                  </a:cubicBezTo>
                  <a:cubicBezTo>
                    <a:pt x="243" y="58"/>
                    <a:pt x="242" y="59"/>
                    <a:pt x="240" y="59"/>
                  </a:cubicBezTo>
                  <a:cubicBezTo>
                    <a:pt x="239" y="59"/>
                    <a:pt x="239" y="59"/>
                    <a:pt x="239" y="59"/>
                  </a:cubicBezTo>
                  <a:cubicBezTo>
                    <a:pt x="238" y="57"/>
                    <a:pt x="238" y="57"/>
                    <a:pt x="238" y="57"/>
                  </a:cubicBezTo>
                  <a:cubicBezTo>
                    <a:pt x="231" y="35"/>
                    <a:pt x="210" y="20"/>
                    <a:pt x="187" y="20"/>
                  </a:cubicBezTo>
                  <a:cubicBezTo>
                    <a:pt x="175" y="20"/>
                    <a:pt x="164" y="23"/>
                    <a:pt x="155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2" y="30"/>
                    <a:pt x="152" y="30"/>
                    <a:pt x="152" y="30"/>
                  </a:cubicBezTo>
                  <a:cubicBezTo>
                    <a:pt x="139" y="14"/>
                    <a:pt x="121" y="4"/>
                    <a:pt x="100" y="4"/>
                  </a:cubicBezTo>
                  <a:close/>
                </a:path>
              </a:pathLst>
            </a:custGeom>
            <a:solidFill>
              <a:srgbClr val="3469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178629" y="2011681"/>
            <a:ext cx="8551409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44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342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291840" y="1554479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838902" y="2011681"/>
            <a:ext cx="7891135" cy="41743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hoto Left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528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1554481"/>
            <a:ext cx="384048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840478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7540" y="2011680"/>
            <a:ext cx="7342497" cy="41620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nal Slide -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15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8900160" y="1554480"/>
            <a:ext cx="3291840" cy="530351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0" y="1"/>
            <a:ext cx="12191996" cy="1554480"/>
          </a:xfrm>
          <a:prstGeom prst="rect">
            <a:avLst/>
          </a:prstGeom>
          <a:solidFill>
            <a:srgbClr val="064E69"/>
          </a:solidFill>
        </p:spPr>
        <p:txBody>
          <a:bodyPr wrap="square" lIns="548640" tIns="0" rIns="91440" bIns="0" anchor="ctr">
            <a:noAutofit/>
          </a:bodyPr>
          <a:lstStyle/>
          <a:p>
            <a:endParaRPr lang="en-US" sz="4000" b="1" dirty="0">
              <a:solidFill>
                <a:schemeClr val="bg1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" y="1448246"/>
            <a:ext cx="12192127" cy="10673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96379"/>
            <a:ext cx="9688623" cy="476805"/>
          </a:xfrm>
          <a:prstGeom prst="rect">
            <a:avLst/>
          </a:prstGeom>
        </p:spPr>
        <p:txBody>
          <a:bodyPr tIns="0" bIns="0" anchor="t" anchorCtr="0"/>
          <a:lstStyle>
            <a:lvl1pPr algn="l">
              <a:defRPr sz="3000" b="1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860151"/>
            <a:ext cx="9688622" cy="4230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9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10363874" y="222724"/>
            <a:ext cx="0" cy="1032988"/>
          </a:xfrm>
          <a:prstGeom prst="line">
            <a:avLst/>
          </a:prstGeom>
          <a:ln w="158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>
            <a:spLocks/>
          </p:cNvSpPr>
          <p:nvPr/>
        </p:nvSpPr>
        <p:spPr>
          <a:xfrm>
            <a:off x="11008872" y="633221"/>
            <a:ext cx="224212" cy="176024"/>
          </a:xfrm>
          <a:custGeom>
            <a:avLst/>
            <a:gdLst/>
            <a:ahLst/>
            <a:cxnLst/>
            <a:rect l="l" t="t" r="r" b="b"/>
            <a:pathLst>
              <a:path w="486642" h="382152">
                <a:moveTo>
                  <a:pt x="150943" y="0"/>
                </a:moveTo>
                <a:cubicBezTo>
                  <a:pt x="191582" y="0"/>
                  <a:pt x="224490" y="12368"/>
                  <a:pt x="232082" y="39810"/>
                </a:cubicBezTo>
                <a:lnTo>
                  <a:pt x="232262" y="41192"/>
                </a:lnTo>
                <a:lnTo>
                  <a:pt x="244394" y="27828"/>
                </a:lnTo>
                <a:cubicBezTo>
                  <a:pt x="265912" y="9086"/>
                  <a:pt x="296328" y="0"/>
                  <a:pt x="331918" y="0"/>
                </a:cubicBezTo>
                <a:cubicBezTo>
                  <a:pt x="355140" y="0"/>
                  <a:pt x="375838" y="4038"/>
                  <a:pt x="390730" y="12620"/>
                </a:cubicBezTo>
                <a:lnTo>
                  <a:pt x="399550" y="19037"/>
                </a:lnTo>
                <a:lnTo>
                  <a:pt x="415123" y="9213"/>
                </a:lnTo>
                <a:cubicBezTo>
                  <a:pt x="421204" y="6846"/>
                  <a:pt x="427956" y="5553"/>
                  <a:pt x="435150" y="5553"/>
                </a:cubicBezTo>
                <a:cubicBezTo>
                  <a:pt x="464430" y="5553"/>
                  <a:pt x="486642" y="26250"/>
                  <a:pt x="486642" y="53511"/>
                </a:cubicBezTo>
                <a:cubicBezTo>
                  <a:pt x="486642" y="80772"/>
                  <a:pt x="464430" y="101974"/>
                  <a:pt x="435150" y="101974"/>
                </a:cubicBezTo>
                <a:cubicBezTo>
                  <a:pt x="420763" y="101974"/>
                  <a:pt x="408142" y="96674"/>
                  <a:pt x="399118" y="87965"/>
                </a:cubicBezTo>
                <a:lnTo>
                  <a:pt x="397141" y="85099"/>
                </a:lnTo>
                <a:lnTo>
                  <a:pt x="387023" y="90979"/>
                </a:lnTo>
                <a:cubicBezTo>
                  <a:pt x="381675" y="92887"/>
                  <a:pt x="375838" y="93897"/>
                  <a:pt x="369780" y="93897"/>
                </a:cubicBezTo>
                <a:cubicBezTo>
                  <a:pt x="355140" y="93897"/>
                  <a:pt x="342015" y="89354"/>
                  <a:pt x="335452" y="81781"/>
                </a:cubicBezTo>
                <a:cubicBezTo>
                  <a:pt x="350092" y="78247"/>
                  <a:pt x="359179" y="66132"/>
                  <a:pt x="359179" y="42910"/>
                </a:cubicBezTo>
                <a:cubicBezTo>
                  <a:pt x="359179" y="22717"/>
                  <a:pt x="350597" y="8077"/>
                  <a:pt x="331918" y="8077"/>
                </a:cubicBezTo>
                <a:cubicBezTo>
                  <a:pt x="308696" y="8077"/>
                  <a:pt x="300619" y="29784"/>
                  <a:pt x="300619" y="58054"/>
                </a:cubicBezTo>
                <a:lnTo>
                  <a:pt x="300619" y="132264"/>
                </a:lnTo>
                <a:lnTo>
                  <a:pt x="363217" y="132264"/>
                </a:lnTo>
                <a:lnTo>
                  <a:pt x="360693" y="144884"/>
                </a:lnTo>
                <a:lnTo>
                  <a:pt x="300619" y="144884"/>
                </a:lnTo>
                <a:lnTo>
                  <a:pt x="300619" y="327126"/>
                </a:lnTo>
                <a:cubicBezTo>
                  <a:pt x="300619" y="360445"/>
                  <a:pt x="312230" y="369027"/>
                  <a:pt x="339490" y="381142"/>
                </a:cubicBezTo>
                <a:lnTo>
                  <a:pt x="339490" y="382152"/>
                </a:lnTo>
                <a:lnTo>
                  <a:pt x="186529" y="382152"/>
                </a:lnTo>
                <a:lnTo>
                  <a:pt x="186529" y="381142"/>
                </a:lnTo>
                <a:cubicBezTo>
                  <a:pt x="208741" y="367007"/>
                  <a:pt x="210255" y="360445"/>
                  <a:pt x="210255" y="327126"/>
                </a:cubicBezTo>
                <a:lnTo>
                  <a:pt x="210255" y="144884"/>
                </a:lnTo>
                <a:lnTo>
                  <a:pt x="180976" y="144884"/>
                </a:lnTo>
                <a:lnTo>
                  <a:pt x="180976" y="139331"/>
                </a:lnTo>
                <a:lnTo>
                  <a:pt x="210255" y="128225"/>
                </a:lnTo>
                <a:lnTo>
                  <a:pt x="210255" y="113585"/>
                </a:lnTo>
                <a:lnTo>
                  <a:pt x="212504" y="87227"/>
                </a:lnTo>
                <a:lnTo>
                  <a:pt x="206048" y="90979"/>
                </a:lnTo>
                <a:cubicBezTo>
                  <a:pt x="200700" y="92887"/>
                  <a:pt x="194863" y="93897"/>
                  <a:pt x="188805" y="93897"/>
                </a:cubicBezTo>
                <a:cubicBezTo>
                  <a:pt x="174165" y="93897"/>
                  <a:pt x="161040" y="89354"/>
                  <a:pt x="154477" y="81781"/>
                </a:cubicBezTo>
                <a:cubicBezTo>
                  <a:pt x="169117" y="78247"/>
                  <a:pt x="178204" y="66132"/>
                  <a:pt x="178204" y="42910"/>
                </a:cubicBezTo>
                <a:cubicBezTo>
                  <a:pt x="178204" y="22717"/>
                  <a:pt x="169622" y="8077"/>
                  <a:pt x="150943" y="8077"/>
                </a:cubicBezTo>
                <a:cubicBezTo>
                  <a:pt x="127721" y="8077"/>
                  <a:pt x="119644" y="29784"/>
                  <a:pt x="119644" y="58054"/>
                </a:cubicBezTo>
                <a:lnTo>
                  <a:pt x="119644" y="132264"/>
                </a:lnTo>
                <a:lnTo>
                  <a:pt x="182242" y="132264"/>
                </a:lnTo>
                <a:lnTo>
                  <a:pt x="179718" y="144884"/>
                </a:lnTo>
                <a:lnTo>
                  <a:pt x="119644" y="144884"/>
                </a:lnTo>
                <a:lnTo>
                  <a:pt x="119644" y="327126"/>
                </a:lnTo>
                <a:cubicBezTo>
                  <a:pt x="119644" y="360445"/>
                  <a:pt x="131255" y="369027"/>
                  <a:pt x="158516" y="381142"/>
                </a:cubicBezTo>
                <a:lnTo>
                  <a:pt x="158516" y="382152"/>
                </a:lnTo>
                <a:lnTo>
                  <a:pt x="5554" y="382152"/>
                </a:lnTo>
                <a:lnTo>
                  <a:pt x="5554" y="381142"/>
                </a:lnTo>
                <a:cubicBezTo>
                  <a:pt x="27766" y="367007"/>
                  <a:pt x="29280" y="360445"/>
                  <a:pt x="29280" y="327126"/>
                </a:cubicBezTo>
                <a:lnTo>
                  <a:pt x="29280" y="144884"/>
                </a:lnTo>
                <a:lnTo>
                  <a:pt x="0" y="144884"/>
                </a:lnTo>
                <a:lnTo>
                  <a:pt x="0" y="139331"/>
                </a:lnTo>
                <a:lnTo>
                  <a:pt x="29280" y="128225"/>
                </a:lnTo>
                <a:lnTo>
                  <a:pt x="29280" y="113585"/>
                </a:lnTo>
                <a:cubicBezTo>
                  <a:pt x="29280" y="36347"/>
                  <a:pt x="79763" y="0"/>
                  <a:pt x="1509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0828278" y="644150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64"/>
          <p:cNvSpPr txBox="1">
            <a:spLocks/>
          </p:cNvSpPr>
          <p:nvPr/>
        </p:nvSpPr>
        <p:spPr>
          <a:xfrm>
            <a:off x="11252333" y="691818"/>
            <a:ext cx="113038" cy="119752"/>
          </a:xfrm>
          <a:custGeom>
            <a:avLst/>
            <a:gdLst/>
            <a:ahLst/>
            <a:cxnLst/>
            <a:rect l="l" t="t" r="r" b="b"/>
            <a:pathLst>
              <a:path w="245345" h="259984">
                <a:moveTo>
                  <a:pt x="144885" y="0"/>
                </a:moveTo>
                <a:cubicBezTo>
                  <a:pt x="199406" y="0"/>
                  <a:pt x="240297" y="23726"/>
                  <a:pt x="240297" y="65122"/>
                </a:cubicBezTo>
                <a:cubicBezTo>
                  <a:pt x="240297" y="95411"/>
                  <a:pt x="217075" y="111061"/>
                  <a:pt x="192843" y="111061"/>
                </a:cubicBezTo>
                <a:cubicBezTo>
                  <a:pt x="166087" y="111061"/>
                  <a:pt x="150438" y="96421"/>
                  <a:pt x="148923" y="81781"/>
                </a:cubicBezTo>
                <a:cubicBezTo>
                  <a:pt x="151952" y="82791"/>
                  <a:pt x="155486" y="83296"/>
                  <a:pt x="158010" y="83296"/>
                </a:cubicBezTo>
                <a:cubicBezTo>
                  <a:pt x="176689" y="83296"/>
                  <a:pt x="184261" y="67646"/>
                  <a:pt x="184261" y="48463"/>
                </a:cubicBezTo>
                <a:cubicBezTo>
                  <a:pt x="184261" y="24231"/>
                  <a:pt x="171136" y="8582"/>
                  <a:pt x="145894" y="8582"/>
                </a:cubicBezTo>
                <a:cubicBezTo>
                  <a:pt x="110557" y="8582"/>
                  <a:pt x="93897" y="54016"/>
                  <a:pt x="93897" y="112575"/>
                </a:cubicBezTo>
                <a:cubicBezTo>
                  <a:pt x="93897" y="181737"/>
                  <a:pt x="124692" y="218589"/>
                  <a:pt x="171640" y="218589"/>
                </a:cubicBezTo>
                <a:cubicBezTo>
                  <a:pt x="200415" y="218589"/>
                  <a:pt x="226666" y="204958"/>
                  <a:pt x="242316" y="173659"/>
                </a:cubicBezTo>
                <a:lnTo>
                  <a:pt x="245345" y="175174"/>
                </a:lnTo>
                <a:cubicBezTo>
                  <a:pt x="231210" y="229190"/>
                  <a:pt x="185775" y="259984"/>
                  <a:pt x="129740" y="259984"/>
                </a:cubicBezTo>
                <a:cubicBezTo>
                  <a:pt x="60074" y="259984"/>
                  <a:pt x="0" y="213036"/>
                  <a:pt x="0" y="134788"/>
                </a:cubicBezTo>
                <a:cubicBezTo>
                  <a:pt x="0" y="49977"/>
                  <a:pt x="63608" y="0"/>
                  <a:pt x="1448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Box 65"/>
          <p:cNvSpPr txBox="1">
            <a:spLocks/>
          </p:cNvSpPr>
          <p:nvPr/>
        </p:nvSpPr>
        <p:spPr>
          <a:xfrm>
            <a:off x="11375209" y="691818"/>
            <a:ext cx="116062" cy="119752"/>
          </a:xfrm>
          <a:custGeom>
            <a:avLst/>
            <a:gdLst/>
            <a:ahLst/>
            <a:cxnLst/>
            <a:rect l="l" t="t" r="r" b="b"/>
            <a:pathLst>
              <a:path w="251908" h="259984">
                <a:moveTo>
                  <a:pt x="132264" y="0"/>
                </a:moveTo>
                <a:cubicBezTo>
                  <a:pt x="213541" y="0"/>
                  <a:pt x="251908" y="51996"/>
                  <a:pt x="251908" y="118633"/>
                </a:cubicBezTo>
                <a:lnTo>
                  <a:pt x="91373" y="118633"/>
                </a:lnTo>
                <a:cubicBezTo>
                  <a:pt x="91373" y="181232"/>
                  <a:pt x="124187" y="218589"/>
                  <a:pt x="172650" y="218589"/>
                </a:cubicBezTo>
                <a:cubicBezTo>
                  <a:pt x="203444" y="218589"/>
                  <a:pt x="230200" y="204958"/>
                  <a:pt x="245850" y="173659"/>
                </a:cubicBezTo>
                <a:lnTo>
                  <a:pt x="249383" y="175174"/>
                </a:lnTo>
                <a:cubicBezTo>
                  <a:pt x="234744" y="229190"/>
                  <a:pt x="189309" y="259984"/>
                  <a:pt x="131759" y="259984"/>
                </a:cubicBezTo>
                <a:cubicBezTo>
                  <a:pt x="59569" y="259984"/>
                  <a:pt x="0" y="212531"/>
                  <a:pt x="0" y="130244"/>
                </a:cubicBezTo>
                <a:cubicBezTo>
                  <a:pt x="0" y="50987"/>
                  <a:pt x="60074" y="0"/>
                  <a:pt x="132264" y="0"/>
                </a:cubicBezTo>
                <a:close/>
                <a:moveTo>
                  <a:pt x="132264" y="8582"/>
                </a:moveTo>
                <a:cubicBezTo>
                  <a:pt x="106013" y="8582"/>
                  <a:pt x="92888" y="48463"/>
                  <a:pt x="91878" y="108032"/>
                </a:cubicBezTo>
                <a:lnTo>
                  <a:pt x="165078" y="108032"/>
                </a:lnTo>
                <a:cubicBezTo>
                  <a:pt x="165078" y="51492"/>
                  <a:pt x="161039" y="8582"/>
                  <a:pt x="132264" y="85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11176798" y="694143"/>
            <a:ext cx="64892" cy="115102"/>
          </a:xfrm>
          <a:custGeom>
            <a:avLst/>
            <a:gdLst/>
            <a:ahLst/>
            <a:cxnLst/>
            <a:rect l="l" t="t" r="r" b="b"/>
            <a:pathLst>
              <a:path w="140846" h="249888">
                <a:moveTo>
                  <a:pt x="0" y="0"/>
                </a:moveTo>
                <a:lnTo>
                  <a:pt x="117119" y="0"/>
                </a:lnTo>
                <a:lnTo>
                  <a:pt x="117119" y="194862"/>
                </a:lnTo>
                <a:cubicBezTo>
                  <a:pt x="117119" y="228181"/>
                  <a:pt x="118633" y="234743"/>
                  <a:pt x="140846" y="248878"/>
                </a:cubicBezTo>
                <a:lnTo>
                  <a:pt x="140846" y="249888"/>
                </a:lnTo>
                <a:lnTo>
                  <a:pt x="3029" y="249888"/>
                </a:lnTo>
                <a:lnTo>
                  <a:pt x="3029" y="248878"/>
                </a:lnTo>
                <a:cubicBezTo>
                  <a:pt x="25241" y="234743"/>
                  <a:pt x="26755" y="228181"/>
                  <a:pt x="26755" y="194862"/>
                </a:cubicBezTo>
                <a:lnTo>
                  <a:pt x="26755" y="56035"/>
                </a:lnTo>
                <a:cubicBezTo>
                  <a:pt x="26755" y="21707"/>
                  <a:pt x="23726" y="14640"/>
                  <a:pt x="0" y="10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Box 67"/>
          <p:cNvSpPr txBox="1">
            <a:spLocks/>
          </p:cNvSpPr>
          <p:nvPr/>
        </p:nvSpPr>
        <p:spPr>
          <a:xfrm>
            <a:off x="11298619" y="842827"/>
            <a:ext cx="149090" cy="167421"/>
          </a:xfrm>
          <a:custGeom>
            <a:avLst/>
            <a:gdLst/>
            <a:ahLst/>
            <a:cxnLst/>
            <a:rect l="l" t="t" r="r" b="b"/>
            <a:pathLst>
              <a:path w="323593" h="363474">
                <a:moveTo>
                  <a:pt x="190319" y="0"/>
                </a:moveTo>
                <a:cubicBezTo>
                  <a:pt x="236258" y="0"/>
                  <a:pt x="260994" y="15145"/>
                  <a:pt x="277653" y="15145"/>
                </a:cubicBezTo>
                <a:cubicBezTo>
                  <a:pt x="291284" y="15145"/>
                  <a:pt x="299866" y="9087"/>
                  <a:pt x="310467" y="0"/>
                </a:cubicBezTo>
                <a:lnTo>
                  <a:pt x="314001" y="120149"/>
                </a:lnTo>
                <a:lnTo>
                  <a:pt x="312991" y="120149"/>
                </a:lnTo>
                <a:cubicBezTo>
                  <a:pt x="287750" y="56541"/>
                  <a:pt x="250393" y="11107"/>
                  <a:pt x="199910" y="11107"/>
                </a:cubicBezTo>
                <a:cubicBezTo>
                  <a:pt x="137312" y="11107"/>
                  <a:pt x="101974" y="80268"/>
                  <a:pt x="101974" y="164573"/>
                </a:cubicBezTo>
                <a:cubicBezTo>
                  <a:pt x="101974" y="260490"/>
                  <a:pt x="155486" y="315011"/>
                  <a:pt x="221113" y="315011"/>
                </a:cubicBezTo>
                <a:cubicBezTo>
                  <a:pt x="263014" y="315011"/>
                  <a:pt x="297846" y="300371"/>
                  <a:pt x="320564" y="252918"/>
                </a:cubicBezTo>
                <a:lnTo>
                  <a:pt x="323593" y="253927"/>
                </a:lnTo>
                <a:cubicBezTo>
                  <a:pt x="306428" y="321574"/>
                  <a:pt x="252412" y="363474"/>
                  <a:pt x="173660" y="363474"/>
                </a:cubicBezTo>
                <a:cubicBezTo>
                  <a:pt x="74209" y="363474"/>
                  <a:pt x="0" y="293304"/>
                  <a:pt x="0" y="186786"/>
                </a:cubicBezTo>
                <a:cubicBezTo>
                  <a:pt x="0" y="76229"/>
                  <a:pt x="85820" y="0"/>
                  <a:pt x="190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640919" y="842827"/>
            <a:ext cx="167232" cy="167421"/>
          </a:xfrm>
          <a:custGeom>
            <a:avLst/>
            <a:gdLst/>
            <a:ahLst/>
            <a:cxnLst/>
            <a:rect l="l" t="t" r="r" b="b"/>
            <a:pathLst>
              <a:path w="362969" h="363474">
                <a:moveTo>
                  <a:pt x="181737" y="0"/>
                </a:moveTo>
                <a:cubicBezTo>
                  <a:pt x="285731" y="0"/>
                  <a:pt x="362969" y="75724"/>
                  <a:pt x="362969" y="181737"/>
                </a:cubicBezTo>
                <a:cubicBezTo>
                  <a:pt x="362969" y="287751"/>
                  <a:pt x="285731" y="363474"/>
                  <a:pt x="181737" y="363474"/>
                </a:cubicBezTo>
                <a:cubicBezTo>
                  <a:pt x="77238" y="363474"/>
                  <a:pt x="0" y="287751"/>
                  <a:pt x="0" y="181737"/>
                </a:cubicBezTo>
                <a:cubicBezTo>
                  <a:pt x="0" y="75724"/>
                  <a:pt x="77238" y="0"/>
                  <a:pt x="181737" y="0"/>
                </a:cubicBezTo>
                <a:close/>
                <a:moveTo>
                  <a:pt x="181737" y="10097"/>
                </a:moveTo>
                <a:cubicBezTo>
                  <a:pt x="123682" y="10097"/>
                  <a:pt x="103994" y="70676"/>
                  <a:pt x="103994" y="181737"/>
                </a:cubicBezTo>
                <a:cubicBezTo>
                  <a:pt x="103994" y="292799"/>
                  <a:pt x="123682" y="353378"/>
                  <a:pt x="181737" y="353378"/>
                </a:cubicBezTo>
                <a:cubicBezTo>
                  <a:pt x="239287" y="353378"/>
                  <a:pt x="258975" y="292799"/>
                  <a:pt x="258975" y="181737"/>
                </a:cubicBezTo>
                <a:cubicBezTo>
                  <a:pt x="258975" y="70676"/>
                  <a:pt x="239287" y="10097"/>
                  <a:pt x="181737" y="1009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11457735" y="843060"/>
            <a:ext cx="172117" cy="164863"/>
          </a:xfrm>
          <a:custGeom>
            <a:avLst/>
            <a:gdLst/>
            <a:ahLst/>
            <a:cxnLst/>
            <a:rect l="l" t="t" r="r" b="b"/>
            <a:pathLst>
              <a:path w="373571" h="357921">
                <a:moveTo>
                  <a:pt x="17164" y="0"/>
                </a:moveTo>
                <a:cubicBezTo>
                  <a:pt x="24232" y="3534"/>
                  <a:pt x="35338" y="4544"/>
                  <a:pt x="52502" y="4544"/>
                </a:cubicBezTo>
                <a:lnTo>
                  <a:pt x="321069" y="4544"/>
                </a:lnTo>
                <a:cubicBezTo>
                  <a:pt x="338233" y="4544"/>
                  <a:pt x="349339" y="3534"/>
                  <a:pt x="356407" y="0"/>
                </a:cubicBezTo>
                <a:lnTo>
                  <a:pt x="373571" y="119644"/>
                </a:lnTo>
                <a:lnTo>
                  <a:pt x="372561" y="119644"/>
                </a:lnTo>
                <a:cubicBezTo>
                  <a:pt x="329651" y="50988"/>
                  <a:pt x="309963" y="17669"/>
                  <a:pt x="255946" y="17669"/>
                </a:cubicBezTo>
                <a:lnTo>
                  <a:pt x="234239" y="17669"/>
                </a:lnTo>
                <a:lnTo>
                  <a:pt x="234239" y="297847"/>
                </a:lnTo>
                <a:cubicBezTo>
                  <a:pt x="234239" y="331165"/>
                  <a:pt x="240802" y="342272"/>
                  <a:pt x="263014" y="356912"/>
                </a:cubicBezTo>
                <a:lnTo>
                  <a:pt x="263014" y="357921"/>
                </a:lnTo>
                <a:lnTo>
                  <a:pt x="110557" y="357921"/>
                </a:lnTo>
                <a:lnTo>
                  <a:pt x="110557" y="356912"/>
                </a:lnTo>
                <a:cubicBezTo>
                  <a:pt x="133274" y="342272"/>
                  <a:pt x="139332" y="331165"/>
                  <a:pt x="139332" y="297847"/>
                </a:cubicBezTo>
                <a:lnTo>
                  <a:pt x="139332" y="17669"/>
                </a:lnTo>
                <a:lnTo>
                  <a:pt x="117624" y="17669"/>
                </a:lnTo>
                <a:cubicBezTo>
                  <a:pt x="63608" y="17669"/>
                  <a:pt x="43920" y="50988"/>
                  <a:pt x="1010" y="119644"/>
                </a:cubicBezTo>
                <a:lnTo>
                  <a:pt x="0" y="119644"/>
                </a:lnTo>
                <a:lnTo>
                  <a:pt x="17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00025" indent="-20002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398463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22300" indent="-20002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06450" indent="-182563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Tx/>
              <a:buFont typeface="Lucida Grande"/>
              <a:buChar char="-"/>
              <a:tabLst>
                <a:tab pos="1201738" algn="l"/>
              </a:tabLst>
              <a:defRPr sz="1800" b="0" i="0" kern="120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b="1" dirty="0">
              <a:solidFill>
                <a:schemeClr val="accent5"/>
              </a:solidFill>
              <a:latin typeface="Arial" panose="020B0604020202020204" pitchFamily="34" charset="0"/>
              <a:ea typeface="Domaine Display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001879" y="849615"/>
            <a:ext cx="276881" cy="61257"/>
            <a:chOff x="10999013" y="849614"/>
            <a:chExt cx="276809" cy="61257"/>
          </a:xfrm>
          <a:solidFill>
            <a:schemeClr val="accent3"/>
          </a:solidFill>
        </p:grpSpPr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10999013" y="849614"/>
              <a:ext cx="60220" cy="61257"/>
            </a:xfrm>
            <a:custGeom>
              <a:avLst/>
              <a:gdLst/>
              <a:ahLst/>
              <a:cxnLst/>
              <a:rect l="l" t="t" r="r" b="b"/>
              <a:pathLst>
                <a:path w="130738" h="132991">
                  <a:moveTo>
                    <a:pt x="65709" y="0"/>
                  </a:moveTo>
                  <a:cubicBezTo>
                    <a:pt x="86122" y="0"/>
                    <a:pt x="102063" y="5891"/>
                    <a:pt x="113533" y="17673"/>
                  </a:cubicBezTo>
                  <a:cubicBezTo>
                    <a:pt x="125003" y="29455"/>
                    <a:pt x="130738" y="45715"/>
                    <a:pt x="130738" y="66451"/>
                  </a:cubicBezTo>
                  <a:cubicBezTo>
                    <a:pt x="130738" y="87129"/>
                    <a:pt x="124987" y="103389"/>
                    <a:pt x="113485" y="115230"/>
                  </a:cubicBezTo>
                  <a:cubicBezTo>
                    <a:pt x="101982" y="127071"/>
                    <a:pt x="85992" y="132991"/>
                    <a:pt x="65515" y="132991"/>
                  </a:cubicBezTo>
                  <a:cubicBezTo>
                    <a:pt x="44584" y="132991"/>
                    <a:pt x="28432" y="127174"/>
                    <a:pt x="17059" y="115539"/>
                  </a:cubicBezTo>
                  <a:cubicBezTo>
                    <a:pt x="5686" y="103904"/>
                    <a:pt x="0" y="87483"/>
                    <a:pt x="0" y="66275"/>
                  </a:cubicBezTo>
                  <a:cubicBezTo>
                    <a:pt x="0" y="45243"/>
                    <a:pt x="5702" y="28940"/>
                    <a:pt x="17107" y="17364"/>
                  </a:cubicBezTo>
                  <a:cubicBezTo>
                    <a:pt x="28513" y="5788"/>
                    <a:pt x="44713" y="0"/>
                    <a:pt x="65709" y="0"/>
                  </a:cubicBezTo>
                  <a:close/>
                  <a:moveTo>
                    <a:pt x="65709" y="13431"/>
                  </a:moveTo>
                  <a:cubicBezTo>
                    <a:pt x="49962" y="13431"/>
                    <a:pt x="37990" y="17953"/>
                    <a:pt x="29793" y="26996"/>
                  </a:cubicBezTo>
                  <a:cubicBezTo>
                    <a:pt x="21595" y="36038"/>
                    <a:pt x="17496" y="49190"/>
                    <a:pt x="17496" y="66451"/>
                  </a:cubicBezTo>
                  <a:cubicBezTo>
                    <a:pt x="17496" y="83948"/>
                    <a:pt x="21595" y="97218"/>
                    <a:pt x="29793" y="106261"/>
                  </a:cubicBezTo>
                  <a:cubicBezTo>
                    <a:pt x="37990" y="115303"/>
                    <a:pt x="49897" y="119825"/>
                    <a:pt x="65515" y="119825"/>
                  </a:cubicBezTo>
                  <a:cubicBezTo>
                    <a:pt x="81262" y="119825"/>
                    <a:pt x="93153" y="115318"/>
                    <a:pt x="101188" y="106305"/>
                  </a:cubicBezTo>
                  <a:cubicBezTo>
                    <a:pt x="109224" y="97291"/>
                    <a:pt x="113242" y="84007"/>
                    <a:pt x="113242" y="66451"/>
                  </a:cubicBezTo>
                  <a:cubicBezTo>
                    <a:pt x="113242" y="49073"/>
                    <a:pt x="109240" y="35891"/>
                    <a:pt x="101237" y="26907"/>
                  </a:cubicBezTo>
                  <a:cubicBezTo>
                    <a:pt x="93234" y="17923"/>
                    <a:pt x="81391" y="13431"/>
                    <a:pt x="65709" y="13431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11068225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60620"/>
                  </a:lnTo>
                  <a:lnTo>
                    <a:pt x="75430" y="60620"/>
                  </a:lnTo>
                  <a:lnTo>
                    <a:pt x="75430" y="73963"/>
                  </a:lnTo>
                  <a:lnTo>
                    <a:pt x="16525" y="73963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11121455" y="850549"/>
              <a:ext cx="49071" cy="59507"/>
            </a:xfrm>
            <a:custGeom>
              <a:avLst/>
              <a:gdLst/>
              <a:ahLst/>
              <a:cxnLst/>
              <a:rect l="l" t="t" r="r" b="b"/>
              <a:pathLst>
                <a:path w="106535" h="129192">
                  <a:moveTo>
                    <a:pt x="0" y="0"/>
                  </a:moveTo>
                  <a:lnTo>
                    <a:pt x="106535" y="0"/>
                  </a:lnTo>
                  <a:lnTo>
                    <a:pt x="106535" y="13343"/>
                  </a:lnTo>
                  <a:lnTo>
                    <a:pt x="61530" y="13343"/>
                  </a:lnTo>
                  <a:lnTo>
                    <a:pt x="61530" y="129192"/>
                  </a:lnTo>
                  <a:lnTo>
                    <a:pt x="45005" y="129192"/>
                  </a:lnTo>
                  <a:lnTo>
                    <a:pt x="45005" y="13343"/>
                  </a:lnTo>
                  <a:lnTo>
                    <a:pt x="0" y="1334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11177909" y="850549"/>
              <a:ext cx="49698" cy="59507"/>
            </a:xfrm>
            <a:custGeom>
              <a:avLst/>
              <a:gdLst/>
              <a:ahLst/>
              <a:cxnLst/>
              <a:rect l="l" t="t" r="r" b="b"/>
              <a:pathLst>
                <a:path w="107896" h="129192">
                  <a:moveTo>
                    <a:pt x="0" y="0"/>
                  </a:moveTo>
                  <a:lnTo>
                    <a:pt x="16525" y="0"/>
                  </a:lnTo>
                  <a:lnTo>
                    <a:pt x="16525" y="54964"/>
                  </a:lnTo>
                  <a:lnTo>
                    <a:pt x="91371" y="54964"/>
                  </a:lnTo>
                  <a:lnTo>
                    <a:pt x="91371" y="0"/>
                  </a:lnTo>
                  <a:lnTo>
                    <a:pt x="107896" y="0"/>
                  </a:lnTo>
                  <a:lnTo>
                    <a:pt x="107896" y="129192"/>
                  </a:lnTo>
                  <a:lnTo>
                    <a:pt x="91371" y="129192"/>
                  </a:lnTo>
                  <a:lnTo>
                    <a:pt x="91371" y="68396"/>
                  </a:lnTo>
                  <a:lnTo>
                    <a:pt x="16525" y="68396"/>
                  </a:lnTo>
                  <a:lnTo>
                    <a:pt x="16525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>
              <a:spLocks/>
            </p:cNvSpPr>
            <p:nvPr/>
          </p:nvSpPr>
          <p:spPr>
            <a:xfrm>
              <a:off x="11239332" y="850549"/>
              <a:ext cx="36490" cy="59507"/>
            </a:xfrm>
            <a:custGeom>
              <a:avLst/>
              <a:gdLst/>
              <a:ahLst/>
              <a:cxnLst/>
              <a:rect l="l" t="t" r="r" b="b"/>
              <a:pathLst>
                <a:path w="79221" h="129192">
                  <a:moveTo>
                    <a:pt x="0" y="0"/>
                  </a:moveTo>
                  <a:lnTo>
                    <a:pt x="79221" y="0"/>
                  </a:lnTo>
                  <a:lnTo>
                    <a:pt x="79221" y="13343"/>
                  </a:lnTo>
                  <a:lnTo>
                    <a:pt x="16525" y="13343"/>
                  </a:lnTo>
                  <a:lnTo>
                    <a:pt x="16525" y="54964"/>
                  </a:lnTo>
                  <a:lnTo>
                    <a:pt x="75430" y="54964"/>
                  </a:lnTo>
                  <a:lnTo>
                    <a:pt x="75430" y="68219"/>
                  </a:lnTo>
                  <a:lnTo>
                    <a:pt x="16525" y="68219"/>
                  </a:lnTo>
                  <a:lnTo>
                    <a:pt x="16525" y="115760"/>
                  </a:lnTo>
                  <a:lnTo>
                    <a:pt x="79221" y="115760"/>
                  </a:lnTo>
                  <a:lnTo>
                    <a:pt x="79221" y="129192"/>
                  </a:lnTo>
                  <a:lnTo>
                    <a:pt x="0" y="129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Tx/>
                <a:buNone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 marL="200025" indent="-200025" algn="l" defTabSz="914400" rtl="0" eaLnBrk="1" latinLnBrk="0" hangingPunct="1">
                <a:spcBef>
                  <a:spcPts val="12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2pPr>
              <a:lvl3pPr marL="398463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3pPr>
              <a:lvl4pPr marL="622300" indent="-20002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4pPr>
              <a:lvl5pPr marL="806450" indent="-182563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ClrTx/>
                <a:buFont typeface="Lucida Grande"/>
                <a:buChar char="-"/>
                <a:tabLst>
                  <a:tab pos="1201738" algn="l"/>
                </a:tabLst>
                <a:defRPr sz="1800" b="0" i="0" kern="1200">
                  <a:solidFill>
                    <a:schemeClr val="tx2"/>
                  </a:solidFill>
                  <a:latin typeface="+mn-lt"/>
                  <a:ea typeface="Open Sans" panose="020B0606030504020204" pitchFamily="34" charset="0"/>
                  <a:cs typeface="Open Sans" panose="020B0606030504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b="1" dirty="0">
                <a:solidFill>
                  <a:schemeClr val="accent5"/>
                </a:solidFill>
                <a:latin typeface="Arial" panose="020B0604020202020204" pitchFamily="34" charset="0"/>
                <a:ea typeface="Domaine Display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Freeform 9"/>
          <p:cNvSpPr>
            <a:spLocks noEditPoints="1"/>
          </p:cNvSpPr>
          <p:nvPr/>
        </p:nvSpPr>
        <p:spPr bwMode="auto">
          <a:xfrm>
            <a:off x="10579888" y="371026"/>
            <a:ext cx="1417689" cy="783522"/>
          </a:xfrm>
          <a:custGeom>
            <a:avLst/>
            <a:gdLst>
              <a:gd name="T0" fmla="*/ 279 w 326"/>
              <a:gd name="T1" fmla="*/ 180 h 180"/>
              <a:gd name="T2" fmla="*/ 271 w 326"/>
              <a:gd name="T3" fmla="*/ 179 h 180"/>
              <a:gd name="T4" fmla="*/ 45 w 326"/>
              <a:gd name="T5" fmla="*/ 179 h 180"/>
              <a:gd name="T6" fmla="*/ 6 w 326"/>
              <a:gd name="T7" fmla="*/ 153 h 180"/>
              <a:gd name="T8" fmla="*/ 0 w 326"/>
              <a:gd name="T9" fmla="*/ 129 h 180"/>
              <a:gd name="T10" fmla="*/ 32 w 326"/>
              <a:gd name="T11" fmla="*/ 82 h 180"/>
              <a:gd name="T12" fmla="*/ 30 w 326"/>
              <a:gd name="T13" fmla="*/ 70 h 180"/>
              <a:gd name="T14" fmla="*/ 100 w 326"/>
              <a:gd name="T15" fmla="*/ 0 h 180"/>
              <a:gd name="T16" fmla="*/ 154 w 326"/>
              <a:gd name="T17" fmla="*/ 26 h 180"/>
              <a:gd name="T18" fmla="*/ 187 w 326"/>
              <a:gd name="T19" fmla="*/ 16 h 180"/>
              <a:gd name="T20" fmla="*/ 242 w 326"/>
              <a:gd name="T21" fmla="*/ 55 h 180"/>
              <a:gd name="T22" fmla="*/ 245 w 326"/>
              <a:gd name="T23" fmla="*/ 54 h 180"/>
              <a:gd name="T24" fmla="*/ 280 w 326"/>
              <a:gd name="T25" fmla="*/ 85 h 180"/>
              <a:gd name="T26" fmla="*/ 326 w 326"/>
              <a:gd name="T27" fmla="*/ 132 h 180"/>
              <a:gd name="T28" fmla="*/ 279 w 326"/>
              <a:gd name="T29" fmla="*/ 180 h 180"/>
              <a:gd name="T30" fmla="*/ 100 w 326"/>
              <a:gd name="T31" fmla="*/ 4 h 180"/>
              <a:gd name="T32" fmla="*/ 34 w 326"/>
              <a:gd name="T33" fmla="*/ 70 h 180"/>
              <a:gd name="T34" fmla="*/ 36 w 326"/>
              <a:gd name="T35" fmla="*/ 83 h 180"/>
              <a:gd name="T36" fmla="*/ 36 w 326"/>
              <a:gd name="T37" fmla="*/ 85 h 180"/>
              <a:gd name="T38" fmla="*/ 35 w 326"/>
              <a:gd name="T39" fmla="*/ 86 h 180"/>
              <a:gd name="T40" fmla="*/ 4 w 326"/>
              <a:gd name="T41" fmla="*/ 129 h 180"/>
              <a:gd name="T42" fmla="*/ 10 w 326"/>
              <a:gd name="T43" fmla="*/ 151 h 180"/>
              <a:gd name="T44" fmla="*/ 10 w 326"/>
              <a:gd name="T45" fmla="*/ 151 h 180"/>
              <a:gd name="T46" fmla="*/ 45 w 326"/>
              <a:gd name="T47" fmla="*/ 175 h 180"/>
              <a:gd name="T48" fmla="*/ 271 w 326"/>
              <a:gd name="T49" fmla="*/ 175 h 180"/>
              <a:gd name="T50" fmla="*/ 272 w 326"/>
              <a:gd name="T51" fmla="*/ 175 h 180"/>
              <a:gd name="T52" fmla="*/ 279 w 326"/>
              <a:gd name="T53" fmla="*/ 176 h 180"/>
              <a:gd name="T54" fmla="*/ 322 w 326"/>
              <a:gd name="T55" fmla="*/ 132 h 180"/>
              <a:gd name="T56" fmla="*/ 279 w 326"/>
              <a:gd name="T57" fmla="*/ 89 h 180"/>
              <a:gd name="T58" fmla="*/ 278 w 326"/>
              <a:gd name="T59" fmla="*/ 89 h 180"/>
              <a:gd name="T60" fmla="*/ 276 w 326"/>
              <a:gd name="T61" fmla="*/ 89 h 180"/>
              <a:gd name="T62" fmla="*/ 276 w 326"/>
              <a:gd name="T63" fmla="*/ 87 h 180"/>
              <a:gd name="T64" fmla="*/ 245 w 326"/>
              <a:gd name="T65" fmla="*/ 58 h 180"/>
              <a:gd name="T66" fmla="*/ 240 w 326"/>
              <a:gd name="T67" fmla="*/ 59 h 180"/>
              <a:gd name="T68" fmla="*/ 239 w 326"/>
              <a:gd name="T69" fmla="*/ 59 h 180"/>
              <a:gd name="T70" fmla="*/ 238 w 326"/>
              <a:gd name="T71" fmla="*/ 57 h 180"/>
              <a:gd name="T72" fmla="*/ 187 w 326"/>
              <a:gd name="T73" fmla="*/ 20 h 180"/>
              <a:gd name="T74" fmla="*/ 155 w 326"/>
              <a:gd name="T75" fmla="*/ 30 h 180"/>
              <a:gd name="T76" fmla="*/ 153 w 326"/>
              <a:gd name="T77" fmla="*/ 31 h 180"/>
              <a:gd name="T78" fmla="*/ 152 w 326"/>
              <a:gd name="T79" fmla="*/ 30 h 180"/>
              <a:gd name="T80" fmla="*/ 100 w 326"/>
              <a:gd name="T81" fmla="*/ 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6" h="180">
                <a:moveTo>
                  <a:pt x="279" y="180"/>
                </a:moveTo>
                <a:cubicBezTo>
                  <a:pt x="276" y="180"/>
                  <a:pt x="274" y="179"/>
                  <a:pt x="271" y="179"/>
                </a:cubicBezTo>
                <a:cubicBezTo>
                  <a:pt x="45" y="179"/>
                  <a:pt x="45" y="179"/>
                  <a:pt x="45" y="179"/>
                </a:cubicBezTo>
                <a:cubicBezTo>
                  <a:pt x="28" y="179"/>
                  <a:pt x="13" y="169"/>
                  <a:pt x="6" y="153"/>
                </a:cubicBezTo>
                <a:cubicBezTo>
                  <a:pt x="2" y="146"/>
                  <a:pt x="0" y="137"/>
                  <a:pt x="0" y="129"/>
                </a:cubicBezTo>
                <a:cubicBezTo>
                  <a:pt x="0" y="109"/>
                  <a:pt x="13" y="90"/>
                  <a:pt x="32" y="82"/>
                </a:cubicBezTo>
                <a:cubicBezTo>
                  <a:pt x="31" y="78"/>
                  <a:pt x="30" y="74"/>
                  <a:pt x="30" y="70"/>
                </a:cubicBezTo>
                <a:cubicBezTo>
                  <a:pt x="30" y="32"/>
                  <a:pt x="62" y="0"/>
                  <a:pt x="100" y="0"/>
                </a:cubicBezTo>
                <a:cubicBezTo>
                  <a:pt x="121" y="0"/>
                  <a:pt x="141" y="10"/>
                  <a:pt x="154" y="26"/>
                </a:cubicBezTo>
                <a:cubicBezTo>
                  <a:pt x="164" y="19"/>
                  <a:pt x="175" y="16"/>
                  <a:pt x="187" y="16"/>
                </a:cubicBezTo>
                <a:cubicBezTo>
                  <a:pt x="212" y="16"/>
                  <a:pt x="233" y="31"/>
                  <a:pt x="242" y="55"/>
                </a:cubicBezTo>
                <a:cubicBezTo>
                  <a:pt x="243" y="54"/>
                  <a:pt x="244" y="54"/>
                  <a:pt x="245" y="54"/>
                </a:cubicBezTo>
                <a:cubicBezTo>
                  <a:pt x="263" y="54"/>
                  <a:pt x="278" y="68"/>
                  <a:pt x="280" y="85"/>
                </a:cubicBezTo>
                <a:cubicBezTo>
                  <a:pt x="305" y="86"/>
                  <a:pt x="326" y="107"/>
                  <a:pt x="326" y="132"/>
                </a:cubicBezTo>
                <a:cubicBezTo>
                  <a:pt x="326" y="158"/>
                  <a:pt x="305" y="180"/>
                  <a:pt x="279" y="180"/>
                </a:cubicBezTo>
                <a:close/>
                <a:moveTo>
                  <a:pt x="100" y="4"/>
                </a:moveTo>
                <a:cubicBezTo>
                  <a:pt x="64" y="4"/>
                  <a:pt x="34" y="34"/>
                  <a:pt x="34" y="70"/>
                </a:cubicBezTo>
                <a:cubicBezTo>
                  <a:pt x="34" y="75"/>
                  <a:pt x="35" y="79"/>
                  <a:pt x="36" y="83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16" y="92"/>
                  <a:pt x="4" y="110"/>
                  <a:pt x="4" y="129"/>
                </a:cubicBezTo>
                <a:cubicBezTo>
                  <a:pt x="4" y="137"/>
                  <a:pt x="6" y="144"/>
                  <a:pt x="10" y="151"/>
                </a:cubicBezTo>
                <a:cubicBezTo>
                  <a:pt x="10" y="151"/>
                  <a:pt x="10" y="151"/>
                  <a:pt x="10" y="151"/>
                </a:cubicBezTo>
                <a:cubicBezTo>
                  <a:pt x="16" y="166"/>
                  <a:pt x="30" y="175"/>
                  <a:pt x="45" y="175"/>
                </a:cubicBezTo>
                <a:cubicBezTo>
                  <a:pt x="271" y="175"/>
                  <a:pt x="271" y="175"/>
                  <a:pt x="271" y="175"/>
                </a:cubicBezTo>
                <a:cubicBezTo>
                  <a:pt x="272" y="175"/>
                  <a:pt x="272" y="175"/>
                  <a:pt x="272" y="175"/>
                </a:cubicBezTo>
                <a:cubicBezTo>
                  <a:pt x="274" y="175"/>
                  <a:pt x="276" y="176"/>
                  <a:pt x="279" y="176"/>
                </a:cubicBezTo>
                <a:cubicBezTo>
                  <a:pt x="303" y="176"/>
                  <a:pt x="322" y="156"/>
                  <a:pt x="322" y="132"/>
                </a:cubicBezTo>
                <a:cubicBezTo>
                  <a:pt x="322" y="109"/>
                  <a:pt x="303" y="89"/>
                  <a:pt x="279" y="89"/>
                </a:cubicBezTo>
                <a:cubicBezTo>
                  <a:pt x="279" y="89"/>
                  <a:pt x="278" y="89"/>
                  <a:pt x="278" y="89"/>
                </a:cubicBezTo>
                <a:cubicBezTo>
                  <a:pt x="276" y="89"/>
                  <a:pt x="276" y="89"/>
                  <a:pt x="276" y="89"/>
                </a:cubicBezTo>
                <a:cubicBezTo>
                  <a:pt x="276" y="87"/>
                  <a:pt x="276" y="87"/>
                  <a:pt x="276" y="87"/>
                </a:cubicBezTo>
                <a:cubicBezTo>
                  <a:pt x="275" y="71"/>
                  <a:pt x="261" y="58"/>
                  <a:pt x="245" y="58"/>
                </a:cubicBezTo>
                <a:cubicBezTo>
                  <a:pt x="243" y="58"/>
                  <a:pt x="242" y="59"/>
                  <a:pt x="240" y="59"/>
                </a:cubicBezTo>
                <a:cubicBezTo>
                  <a:pt x="239" y="59"/>
                  <a:pt x="239" y="59"/>
                  <a:pt x="239" y="59"/>
                </a:cubicBezTo>
                <a:cubicBezTo>
                  <a:pt x="238" y="57"/>
                  <a:pt x="238" y="57"/>
                  <a:pt x="238" y="57"/>
                </a:cubicBezTo>
                <a:cubicBezTo>
                  <a:pt x="231" y="35"/>
                  <a:pt x="210" y="20"/>
                  <a:pt x="187" y="20"/>
                </a:cubicBezTo>
                <a:cubicBezTo>
                  <a:pt x="175" y="20"/>
                  <a:pt x="164" y="23"/>
                  <a:pt x="155" y="30"/>
                </a:cubicBezTo>
                <a:cubicBezTo>
                  <a:pt x="153" y="31"/>
                  <a:pt x="153" y="31"/>
                  <a:pt x="153" y="31"/>
                </a:cubicBezTo>
                <a:cubicBezTo>
                  <a:pt x="152" y="30"/>
                  <a:pt x="152" y="30"/>
                  <a:pt x="152" y="30"/>
                </a:cubicBezTo>
                <a:cubicBezTo>
                  <a:pt x="139" y="14"/>
                  <a:pt x="121" y="4"/>
                  <a:pt x="100" y="4"/>
                </a:cubicBezTo>
                <a:close/>
              </a:path>
            </a:pathLst>
          </a:custGeom>
          <a:solidFill>
            <a:srgbClr val="34697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Content Placeholder 8"/>
          <p:cNvSpPr txBox="1">
            <a:spLocks/>
          </p:cNvSpPr>
          <p:nvPr userDrawn="1"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 userDrawn="1"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808590" y="1554232"/>
            <a:ext cx="91440" cy="530352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11432"/>
            <a:ext cx="7937863" cy="416224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ody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8"/>
          <p:cNvSpPr txBox="1">
            <a:spLocks/>
          </p:cNvSpPr>
          <p:nvPr/>
        </p:nvSpPr>
        <p:spPr>
          <a:xfrm>
            <a:off x="11104408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fld id="{38743595-4496-5147-A886-7D133864DF76}" type="slidenum">
              <a:rPr lang="en-US" sz="1000" smtClean="0">
                <a:solidFill>
                  <a:srgbClr val="3F3F3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/>
              <a:t>‹#›</a:t>
            </a:fld>
            <a:endParaRPr lang="en-US" sz="10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57401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71" imgH="470" progId="TCLayout.ActiveDocument.1">
                  <p:embed/>
                </p:oleObj>
              </mc:Choice>
              <mc:Fallback>
                <p:oleObj name="think-cell Slide" r:id="rId15" imgW="471" imgH="4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SIPCMContentMarking" descr="{&quot;HashCode&quot;:-356254672,&quot;Placement&quot;:&quot;Footer&quot;}">
            <a:extLst>
              <a:ext uri="{FF2B5EF4-FFF2-40B4-BE49-F238E27FC236}">
                <a16:creationId xmlns:a16="http://schemas.microsoft.com/office/drawing/2014/main" id="{B869DC3D-CEDB-48B8-8C95-B8965AA1143A}"/>
              </a:ext>
            </a:extLst>
          </p:cNvPr>
          <p:cNvSpPr txBox="1"/>
          <p:nvPr/>
        </p:nvSpPr>
        <p:spPr>
          <a:xfrm>
            <a:off x="10717460" y="6413372"/>
            <a:ext cx="709344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 defTabSz="456758" fontAlgn="base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prietary</a:t>
            </a:r>
            <a:endParaRPr lang="en-US" sz="800" dirty="0" err="1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 txBox="1">
            <a:spLocks/>
          </p:cNvSpPr>
          <p:nvPr userDrawn="1"/>
        </p:nvSpPr>
        <p:spPr>
          <a:xfrm>
            <a:off x="547922" y="6418626"/>
            <a:ext cx="2383745" cy="2286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201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70D1A23-D88D-46C3-95E5-B10C224E1C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618496" y="6443197"/>
            <a:ext cx="955009" cy="127570"/>
            <a:chOff x="279400" y="2781300"/>
            <a:chExt cx="8585200" cy="10922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65CECB-7D2B-4CF7-BFD3-6752DEC67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2816225"/>
              <a:ext cx="958850" cy="1035050"/>
            </a:xfrm>
            <a:custGeom>
              <a:avLst/>
              <a:gdLst>
                <a:gd name="T0" fmla="*/ 142 w 604"/>
                <a:gd name="T1" fmla="*/ 272 h 652"/>
                <a:gd name="T2" fmla="*/ 142 w 604"/>
                <a:gd name="T3" fmla="*/ 57 h 652"/>
                <a:gd name="T4" fmla="*/ 206 w 604"/>
                <a:gd name="T5" fmla="*/ 57 h 652"/>
                <a:gd name="T6" fmla="*/ 206 w 604"/>
                <a:gd name="T7" fmla="*/ 0 h 652"/>
                <a:gd name="T8" fmla="*/ 0 w 604"/>
                <a:gd name="T9" fmla="*/ 0 h 652"/>
                <a:gd name="T10" fmla="*/ 0 w 604"/>
                <a:gd name="T11" fmla="*/ 57 h 652"/>
                <a:gd name="T12" fmla="*/ 64 w 604"/>
                <a:gd name="T13" fmla="*/ 57 h 652"/>
                <a:gd name="T14" fmla="*/ 64 w 604"/>
                <a:gd name="T15" fmla="*/ 587 h 652"/>
                <a:gd name="T16" fmla="*/ 0 w 604"/>
                <a:gd name="T17" fmla="*/ 587 h 652"/>
                <a:gd name="T18" fmla="*/ 0 w 604"/>
                <a:gd name="T19" fmla="*/ 652 h 652"/>
                <a:gd name="T20" fmla="*/ 206 w 604"/>
                <a:gd name="T21" fmla="*/ 652 h 652"/>
                <a:gd name="T22" fmla="*/ 206 w 604"/>
                <a:gd name="T23" fmla="*/ 587 h 652"/>
                <a:gd name="T24" fmla="*/ 142 w 604"/>
                <a:gd name="T25" fmla="*/ 587 h 652"/>
                <a:gd name="T26" fmla="*/ 142 w 604"/>
                <a:gd name="T27" fmla="*/ 329 h 652"/>
                <a:gd name="T28" fmla="*/ 462 w 604"/>
                <a:gd name="T29" fmla="*/ 329 h 652"/>
                <a:gd name="T30" fmla="*/ 462 w 604"/>
                <a:gd name="T31" fmla="*/ 587 h 652"/>
                <a:gd name="T32" fmla="*/ 398 w 604"/>
                <a:gd name="T33" fmla="*/ 587 h 652"/>
                <a:gd name="T34" fmla="*/ 398 w 604"/>
                <a:gd name="T35" fmla="*/ 652 h 652"/>
                <a:gd name="T36" fmla="*/ 604 w 604"/>
                <a:gd name="T37" fmla="*/ 652 h 652"/>
                <a:gd name="T38" fmla="*/ 604 w 604"/>
                <a:gd name="T39" fmla="*/ 587 h 652"/>
                <a:gd name="T40" fmla="*/ 540 w 604"/>
                <a:gd name="T41" fmla="*/ 587 h 652"/>
                <a:gd name="T42" fmla="*/ 540 w 604"/>
                <a:gd name="T43" fmla="*/ 57 h 652"/>
                <a:gd name="T44" fmla="*/ 604 w 604"/>
                <a:gd name="T45" fmla="*/ 57 h 652"/>
                <a:gd name="T46" fmla="*/ 604 w 604"/>
                <a:gd name="T47" fmla="*/ 0 h 652"/>
                <a:gd name="T48" fmla="*/ 398 w 604"/>
                <a:gd name="T49" fmla="*/ 0 h 652"/>
                <a:gd name="T50" fmla="*/ 398 w 604"/>
                <a:gd name="T51" fmla="*/ 57 h 652"/>
                <a:gd name="T52" fmla="*/ 462 w 604"/>
                <a:gd name="T53" fmla="*/ 57 h 652"/>
                <a:gd name="T54" fmla="*/ 462 w 604"/>
                <a:gd name="T55" fmla="*/ 272 h 652"/>
                <a:gd name="T56" fmla="*/ 142 w 604"/>
                <a:gd name="T57" fmla="*/ 272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4" h="652">
                  <a:moveTo>
                    <a:pt x="142" y="272"/>
                  </a:moveTo>
                  <a:lnTo>
                    <a:pt x="142" y="57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64" y="57"/>
                  </a:lnTo>
                  <a:lnTo>
                    <a:pt x="64" y="587"/>
                  </a:lnTo>
                  <a:lnTo>
                    <a:pt x="0" y="587"/>
                  </a:lnTo>
                  <a:lnTo>
                    <a:pt x="0" y="652"/>
                  </a:lnTo>
                  <a:lnTo>
                    <a:pt x="206" y="652"/>
                  </a:lnTo>
                  <a:lnTo>
                    <a:pt x="206" y="587"/>
                  </a:lnTo>
                  <a:lnTo>
                    <a:pt x="142" y="587"/>
                  </a:lnTo>
                  <a:lnTo>
                    <a:pt x="142" y="329"/>
                  </a:lnTo>
                  <a:lnTo>
                    <a:pt x="462" y="329"/>
                  </a:lnTo>
                  <a:lnTo>
                    <a:pt x="462" y="587"/>
                  </a:lnTo>
                  <a:lnTo>
                    <a:pt x="398" y="587"/>
                  </a:lnTo>
                  <a:lnTo>
                    <a:pt x="398" y="652"/>
                  </a:lnTo>
                  <a:lnTo>
                    <a:pt x="604" y="652"/>
                  </a:lnTo>
                  <a:lnTo>
                    <a:pt x="604" y="587"/>
                  </a:lnTo>
                  <a:lnTo>
                    <a:pt x="540" y="587"/>
                  </a:lnTo>
                  <a:lnTo>
                    <a:pt x="540" y="57"/>
                  </a:lnTo>
                  <a:lnTo>
                    <a:pt x="604" y="57"/>
                  </a:lnTo>
                  <a:lnTo>
                    <a:pt x="604" y="0"/>
                  </a:lnTo>
                  <a:lnTo>
                    <a:pt x="398" y="0"/>
                  </a:lnTo>
                  <a:lnTo>
                    <a:pt x="398" y="57"/>
                  </a:lnTo>
                  <a:lnTo>
                    <a:pt x="462" y="57"/>
                  </a:lnTo>
                  <a:lnTo>
                    <a:pt x="462" y="272"/>
                  </a:lnTo>
                  <a:lnTo>
                    <a:pt x="142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7111873F-5B39-42DE-99F1-E7FC74583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5" y="2816225"/>
              <a:ext cx="822325" cy="1035050"/>
            </a:xfrm>
            <a:custGeom>
              <a:avLst/>
              <a:gdLst>
                <a:gd name="T0" fmla="*/ 27 w 73"/>
                <a:gd name="T1" fmla="*/ 82 h 91"/>
                <a:gd name="T2" fmla="*/ 19 w 73"/>
                <a:gd name="T3" fmla="*/ 82 h 91"/>
                <a:gd name="T4" fmla="*/ 19 w 73"/>
                <a:gd name="T5" fmla="*/ 54 h 91"/>
                <a:gd name="T6" fmla="*/ 37 w 73"/>
                <a:gd name="T7" fmla="*/ 35 h 91"/>
                <a:gd name="T8" fmla="*/ 55 w 73"/>
                <a:gd name="T9" fmla="*/ 54 h 91"/>
                <a:gd name="T10" fmla="*/ 55 w 73"/>
                <a:gd name="T11" fmla="*/ 82 h 91"/>
                <a:gd name="T12" fmla="*/ 46 w 73"/>
                <a:gd name="T13" fmla="*/ 82 h 91"/>
                <a:gd name="T14" fmla="*/ 46 w 73"/>
                <a:gd name="T15" fmla="*/ 91 h 91"/>
                <a:gd name="T16" fmla="*/ 73 w 73"/>
                <a:gd name="T17" fmla="*/ 91 h 91"/>
                <a:gd name="T18" fmla="*/ 73 w 73"/>
                <a:gd name="T19" fmla="*/ 82 h 91"/>
                <a:gd name="T20" fmla="*/ 65 w 73"/>
                <a:gd name="T21" fmla="*/ 82 h 91"/>
                <a:gd name="T22" fmla="*/ 65 w 73"/>
                <a:gd name="T23" fmla="*/ 54 h 91"/>
                <a:gd name="T24" fmla="*/ 38 w 73"/>
                <a:gd name="T25" fmla="*/ 26 h 91"/>
                <a:gd name="T26" fmla="*/ 19 w 73"/>
                <a:gd name="T27" fmla="*/ 35 h 91"/>
                <a:gd name="T28" fmla="*/ 19 w 73"/>
                <a:gd name="T29" fmla="*/ 0 h 91"/>
                <a:gd name="T30" fmla="*/ 0 w 73"/>
                <a:gd name="T31" fmla="*/ 0 h 91"/>
                <a:gd name="T32" fmla="*/ 0 w 73"/>
                <a:gd name="T33" fmla="*/ 8 h 91"/>
                <a:gd name="T34" fmla="*/ 9 w 73"/>
                <a:gd name="T35" fmla="*/ 8 h 91"/>
                <a:gd name="T36" fmla="*/ 9 w 73"/>
                <a:gd name="T37" fmla="*/ 82 h 91"/>
                <a:gd name="T38" fmla="*/ 0 w 73"/>
                <a:gd name="T39" fmla="*/ 82 h 91"/>
                <a:gd name="T40" fmla="*/ 0 w 73"/>
                <a:gd name="T41" fmla="*/ 91 h 91"/>
                <a:gd name="T42" fmla="*/ 27 w 73"/>
                <a:gd name="T43" fmla="*/ 91 h 91"/>
                <a:gd name="T44" fmla="*/ 27 w 73"/>
                <a:gd name="T45" fmla="*/ 8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91">
                  <a:moveTo>
                    <a:pt x="27" y="82"/>
                  </a:moveTo>
                  <a:cubicBezTo>
                    <a:pt x="19" y="82"/>
                    <a:pt x="19" y="82"/>
                    <a:pt x="19" y="82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41"/>
                    <a:pt x="25" y="35"/>
                    <a:pt x="37" y="35"/>
                  </a:cubicBezTo>
                  <a:cubicBezTo>
                    <a:pt x="48" y="35"/>
                    <a:pt x="55" y="41"/>
                    <a:pt x="55" y="5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39"/>
                    <a:pt x="55" y="26"/>
                    <a:pt x="38" y="26"/>
                  </a:cubicBezTo>
                  <a:cubicBezTo>
                    <a:pt x="30" y="26"/>
                    <a:pt x="23" y="29"/>
                    <a:pt x="19" y="3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7" y="91"/>
                    <a:pt x="27" y="91"/>
                    <a:pt x="27" y="91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CB93BBE-80DA-457D-B72D-9C9C5E5B8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9850" y="3111500"/>
              <a:ext cx="822325" cy="750888"/>
            </a:xfrm>
            <a:custGeom>
              <a:avLst/>
              <a:gdLst>
                <a:gd name="T0" fmla="*/ 73 w 73"/>
                <a:gd name="T1" fmla="*/ 10 h 66"/>
                <a:gd name="T2" fmla="*/ 73 w 73"/>
                <a:gd name="T3" fmla="*/ 2 h 66"/>
                <a:gd name="T4" fmla="*/ 54 w 73"/>
                <a:gd name="T5" fmla="*/ 2 h 66"/>
                <a:gd name="T6" fmla="*/ 54 w 73"/>
                <a:gd name="T7" fmla="*/ 11 h 66"/>
                <a:gd name="T8" fmla="*/ 31 w 73"/>
                <a:gd name="T9" fmla="*/ 0 h 66"/>
                <a:gd name="T10" fmla="*/ 0 w 73"/>
                <a:gd name="T11" fmla="*/ 33 h 66"/>
                <a:gd name="T12" fmla="*/ 31 w 73"/>
                <a:gd name="T13" fmla="*/ 66 h 66"/>
                <a:gd name="T14" fmla="*/ 54 w 73"/>
                <a:gd name="T15" fmla="*/ 55 h 66"/>
                <a:gd name="T16" fmla="*/ 54 w 73"/>
                <a:gd name="T17" fmla="*/ 65 h 66"/>
                <a:gd name="T18" fmla="*/ 73 w 73"/>
                <a:gd name="T19" fmla="*/ 65 h 66"/>
                <a:gd name="T20" fmla="*/ 73 w 73"/>
                <a:gd name="T21" fmla="*/ 56 h 66"/>
                <a:gd name="T22" fmla="*/ 64 w 73"/>
                <a:gd name="T23" fmla="*/ 56 h 66"/>
                <a:gd name="T24" fmla="*/ 64 w 73"/>
                <a:gd name="T25" fmla="*/ 10 h 66"/>
                <a:gd name="T26" fmla="*/ 73 w 73"/>
                <a:gd name="T27" fmla="*/ 10 h 66"/>
                <a:gd name="T28" fmla="*/ 33 w 73"/>
                <a:gd name="T29" fmla="*/ 58 h 66"/>
                <a:gd name="T30" fmla="*/ 11 w 73"/>
                <a:gd name="T31" fmla="*/ 33 h 66"/>
                <a:gd name="T32" fmla="*/ 33 w 73"/>
                <a:gd name="T33" fmla="*/ 9 h 66"/>
                <a:gd name="T34" fmla="*/ 54 w 73"/>
                <a:gd name="T35" fmla="*/ 33 h 66"/>
                <a:gd name="T36" fmla="*/ 33 w 73"/>
                <a:gd name="T37" fmla="*/ 5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66">
                  <a:moveTo>
                    <a:pt x="73" y="10"/>
                  </a:moveTo>
                  <a:cubicBezTo>
                    <a:pt x="73" y="2"/>
                    <a:pt x="73" y="2"/>
                    <a:pt x="73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49" y="4"/>
                    <a:pt x="41" y="0"/>
                    <a:pt x="31" y="0"/>
                  </a:cubicBezTo>
                  <a:cubicBezTo>
                    <a:pt x="13" y="0"/>
                    <a:pt x="0" y="14"/>
                    <a:pt x="0" y="33"/>
                  </a:cubicBezTo>
                  <a:cubicBezTo>
                    <a:pt x="0" y="52"/>
                    <a:pt x="13" y="66"/>
                    <a:pt x="31" y="66"/>
                  </a:cubicBezTo>
                  <a:cubicBezTo>
                    <a:pt x="41" y="66"/>
                    <a:pt x="49" y="62"/>
                    <a:pt x="54" y="55"/>
                  </a:cubicBezTo>
                  <a:cubicBezTo>
                    <a:pt x="54" y="65"/>
                    <a:pt x="54" y="65"/>
                    <a:pt x="54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10"/>
                    <a:pt x="64" y="10"/>
                    <a:pt x="64" y="10"/>
                  </a:cubicBezTo>
                  <a:lnTo>
                    <a:pt x="73" y="10"/>
                  </a:lnTo>
                  <a:close/>
                  <a:moveTo>
                    <a:pt x="33" y="58"/>
                  </a:moveTo>
                  <a:cubicBezTo>
                    <a:pt x="20" y="58"/>
                    <a:pt x="11" y="47"/>
                    <a:pt x="11" y="33"/>
                  </a:cubicBezTo>
                  <a:cubicBezTo>
                    <a:pt x="11" y="19"/>
                    <a:pt x="20" y="9"/>
                    <a:pt x="33" y="9"/>
                  </a:cubicBezTo>
                  <a:cubicBezTo>
                    <a:pt x="46" y="9"/>
                    <a:pt x="54" y="19"/>
                    <a:pt x="54" y="33"/>
                  </a:cubicBezTo>
                  <a:cubicBezTo>
                    <a:pt x="54" y="47"/>
                    <a:pt x="46" y="58"/>
                    <a:pt x="33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D49BCB4-A340-471B-971A-24BD033C7F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8638" y="3111500"/>
              <a:ext cx="731838" cy="750888"/>
            </a:xfrm>
            <a:custGeom>
              <a:avLst/>
              <a:gdLst>
                <a:gd name="T0" fmla="*/ 65 w 65"/>
                <a:gd name="T1" fmla="*/ 32 h 66"/>
                <a:gd name="T2" fmla="*/ 33 w 65"/>
                <a:gd name="T3" fmla="*/ 0 h 66"/>
                <a:gd name="T4" fmla="*/ 0 w 65"/>
                <a:gd name="T5" fmla="*/ 33 h 66"/>
                <a:gd name="T6" fmla="*/ 33 w 65"/>
                <a:gd name="T7" fmla="*/ 66 h 66"/>
                <a:gd name="T8" fmla="*/ 63 w 65"/>
                <a:gd name="T9" fmla="*/ 48 h 66"/>
                <a:gd name="T10" fmla="*/ 53 w 65"/>
                <a:gd name="T11" fmla="*/ 48 h 66"/>
                <a:gd name="T12" fmla="*/ 34 w 65"/>
                <a:gd name="T13" fmla="*/ 58 h 66"/>
                <a:gd name="T14" fmla="*/ 11 w 65"/>
                <a:gd name="T15" fmla="*/ 37 h 66"/>
                <a:gd name="T16" fmla="*/ 65 w 65"/>
                <a:gd name="T17" fmla="*/ 37 h 66"/>
                <a:gd name="T18" fmla="*/ 65 w 65"/>
                <a:gd name="T19" fmla="*/ 32 h 66"/>
                <a:gd name="T20" fmla="*/ 11 w 65"/>
                <a:gd name="T21" fmla="*/ 28 h 66"/>
                <a:gd name="T22" fmla="*/ 33 w 65"/>
                <a:gd name="T23" fmla="*/ 8 h 66"/>
                <a:gd name="T24" fmla="*/ 55 w 65"/>
                <a:gd name="T25" fmla="*/ 28 h 66"/>
                <a:gd name="T26" fmla="*/ 11 w 65"/>
                <a:gd name="T27" fmla="*/ 2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66">
                  <a:moveTo>
                    <a:pt x="65" y="32"/>
                  </a:moveTo>
                  <a:cubicBezTo>
                    <a:pt x="65" y="13"/>
                    <a:pt x="53" y="0"/>
                    <a:pt x="33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3"/>
                    <a:pt x="14" y="66"/>
                    <a:pt x="33" y="66"/>
                  </a:cubicBezTo>
                  <a:cubicBezTo>
                    <a:pt x="47" y="66"/>
                    <a:pt x="58" y="59"/>
                    <a:pt x="63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0" y="54"/>
                    <a:pt x="43" y="58"/>
                    <a:pt x="34" y="58"/>
                  </a:cubicBezTo>
                  <a:cubicBezTo>
                    <a:pt x="19" y="58"/>
                    <a:pt x="12" y="49"/>
                    <a:pt x="11" y="37"/>
                  </a:cubicBezTo>
                  <a:cubicBezTo>
                    <a:pt x="65" y="37"/>
                    <a:pt x="65" y="37"/>
                    <a:pt x="65" y="37"/>
                  </a:cubicBezTo>
                  <a:lnTo>
                    <a:pt x="65" y="32"/>
                  </a:lnTo>
                  <a:close/>
                  <a:moveTo>
                    <a:pt x="11" y="28"/>
                  </a:moveTo>
                  <a:cubicBezTo>
                    <a:pt x="12" y="17"/>
                    <a:pt x="20" y="8"/>
                    <a:pt x="33" y="8"/>
                  </a:cubicBezTo>
                  <a:cubicBezTo>
                    <a:pt x="47" y="8"/>
                    <a:pt x="54" y="18"/>
                    <a:pt x="55" y="28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C4938EB-CD7A-497C-9BA4-5CD6B3F08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3650" y="2952750"/>
              <a:ext cx="360363" cy="898525"/>
            </a:xfrm>
            <a:custGeom>
              <a:avLst/>
              <a:gdLst>
                <a:gd name="T0" fmla="*/ 20 w 32"/>
                <a:gd name="T1" fmla="*/ 62 h 79"/>
                <a:gd name="T2" fmla="*/ 20 w 32"/>
                <a:gd name="T3" fmla="*/ 24 h 79"/>
                <a:gd name="T4" fmla="*/ 32 w 32"/>
                <a:gd name="T5" fmla="*/ 24 h 79"/>
                <a:gd name="T6" fmla="*/ 32 w 32"/>
                <a:gd name="T7" fmla="*/ 16 h 79"/>
                <a:gd name="T8" fmla="*/ 20 w 32"/>
                <a:gd name="T9" fmla="*/ 16 h 79"/>
                <a:gd name="T10" fmla="*/ 20 w 32"/>
                <a:gd name="T11" fmla="*/ 0 h 79"/>
                <a:gd name="T12" fmla="*/ 9 w 32"/>
                <a:gd name="T13" fmla="*/ 0 h 79"/>
                <a:gd name="T14" fmla="*/ 9 w 32"/>
                <a:gd name="T15" fmla="*/ 16 h 79"/>
                <a:gd name="T16" fmla="*/ 0 w 32"/>
                <a:gd name="T17" fmla="*/ 16 h 79"/>
                <a:gd name="T18" fmla="*/ 0 w 32"/>
                <a:gd name="T19" fmla="*/ 24 h 79"/>
                <a:gd name="T20" fmla="*/ 9 w 32"/>
                <a:gd name="T21" fmla="*/ 24 h 79"/>
                <a:gd name="T22" fmla="*/ 9 w 32"/>
                <a:gd name="T23" fmla="*/ 63 h 79"/>
                <a:gd name="T24" fmla="*/ 26 w 32"/>
                <a:gd name="T25" fmla="*/ 79 h 79"/>
                <a:gd name="T26" fmla="*/ 32 w 32"/>
                <a:gd name="T27" fmla="*/ 79 h 79"/>
                <a:gd name="T28" fmla="*/ 32 w 32"/>
                <a:gd name="T29" fmla="*/ 70 h 79"/>
                <a:gd name="T30" fmla="*/ 27 w 32"/>
                <a:gd name="T31" fmla="*/ 71 h 79"/>
                <a:gd name="T32" fmla="*/ 20 w 32"/>
                <a:gd name="T33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79">
                  <a:moveTo>
                    <a:pt x="20" y="6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63"/>
                    <a:pt x="9" y="63"/>
                    <a:pt x="9" y="63"/>
                  </a:cubicBezTo>
                  <a:cubicBezTo>
                    <a:pt x="9" y="74"/>
                    <a:pt x="14" y="79"/>
                    <a:pt x="26" y="79"/>
                  </a:cubicBezTo>
                  <a:cubicBezTo>
                    <a:pt x="28" y="79"/>
                    <a:pt x="31" y="79"/>
                    <a:pt x="32" y="7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0" y="71"/>
                    <a:pt x="29" y="71"/>
                    <a:pt x="27" y="71"/>
                  </a:cubicBezTo>
                  <a:cubicBezTo>
                    <a:pt x="22" y="71"/>
                    <a:pt x="20" y="69"/>
                    <a:pt x="20" y="6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8FB080F-C58C-4388-AF4B-47AA97CFE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513" y="2816225"/>
              <a:ext cx="338138" cy="1035050"/>
            </a:xfrm>
            <a:custGeom>
              <a:avLst/>
              <a:gdLst>
                <a:gd name="T0" fmla="*/ 24 w 30"/>
                <a:gd name="T1" fmla="*/ 91 h 91"/>
                <a:gd name="T2" fmla="*/ 30 w 30"/>
                <a:gd name="T3" fmla="*/ 91 h 91"/>
                <a:gd name="T4" fmla="*/ 30 w 30"/>
                <a:gd name="T5" fmla="*/ 82 h 91"/>
                <a:gd name="T6" fmla="*/ 26 w 30"/>
                <a:gd name="T7" fmla="*/ 83 h 91"/>
                <a:gd name="T8" fmla="*/ 19 w 30"/>
                <a:gd name="T9" fmla="*/ 74 h 91"/>
                <a:gd name="T10" fmla="*/ 19 w 30"/>
                <a:gd name="T11" fmla="*/ 0 h 91"/>
                <a:gd name="T12" fmla="*/ 0 w 30"/>
                <a:gd name="T13" fmla="*/ 0 h 91"/>
                <a:gd name="T14" fmla="*/ 0 w 30"/>
                <a:gd name="T15" fmla="*/ 8 h 91"/>
                <a:gd name="T16" fmla="*/ 9 w 30"/>
                <a:gd name="T17" fmla="*/ 8 h 91"/>
                <a:gd name="T18" fmla="*/ 9 w 30"/>
                <a:gd name="T19" fmla="*/ 74 h 91"/>
                <a:gd name="T20" fmla="*/ 24 w 30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91">
                  <a:moveTo>
                    <a:pt x="24" y="91"/>
                  </a:moveTo>
                  <a:cubicBezTo>
                    <a:pt x="26" y="91"/>
                    <a:pt x="29" y="91"/>
                    <a:pt x="30" y="9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28" y="83"/>
                    <a:pt x="27" y="83"/>
                    <a:pt x="26" y="83"/>
                  </a:cubicBezTo>
                  <a:cubicBezTo>
                    <a:pt x="21" y="83"/>
                    <a:pt x="19" y="80"/>
                    <a:pt x="19" y="74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85"/>
                    <a:pt x="13" y="91"/>
                    <a:pt x="24" y="9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BAF44958-70BD-4D20-94BC-622DD0D8A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5" y="2781300"/>
              <a:ext cx="911225" cy="1092200"/>
            </a:xfrm>
            <a:custGeom>
              <a:avLst/>
              <a:gdLst>
                <a:gd name="T0" fmla="*/ 28 w 81"/>
                <a:gd name="T1" fmla="*/ 65 h 96"/>
                <a:gd name="T2" fmla="*/ 41 w 81"/>
                <a:gd name="T3" fmla="*/ 74 h 96"/>
                <a:gd name="T4" fmla="*/ 52 w 81"/>
                <a:gd name="T5" fmla="*/ 68 h 96"/>
                <a:gd name="T6" fmla="*/ 36 w 81"/>
                <a:gd name="T7" fmla="*/ 59 h 96"/>
                <a:gd name="T8" fmla="*/ 12 w 81"/>
                <a:gd name="T9" fmla="*/ 50 h 96"/>
                <a:gd name="T10" fmla="*/ 1 w 81"/>
                <a:gd name="T11" fmla="*/ 29 h 96"/>
                <a:gd name="T12" fmla="*/ 39 w 81"/>
                <a:gd name="T13" fmla="*/ 0 h 96"/>
                <a:gd name="T14" fmla="*/ 78 w 81"/>
                <a:gd name="T15" fmla="*/ 29 h 96"/>
                <a:gd name="T16" fmla="*/ 51 w 81"/>
                <a:gd name="T17" fmla="*/ 29 h 96"/>
                <a:gd name="T18" fmla="*/ 39 w 81"/>
                <a:gd name="T19" fmla="*/ 21 h 96"/>
                <a:gd name="T20" fmla="*/ 30 w 81"/>
                <a:gd name="T21" fmla="*/ 27 h 96"/>
                <a:gd name="T22" fmla="*/ 43 w 81"/>
                <a:gd name="T23" fmla="*/ 35 h 96"/>
                <a:gd name="T24" fmla="*/ 69 w 81"/>
                <a:gd name="T25" fmla="*/ 43 h 96"/>
                <a:gd name="T26" fmla="*/ 81 w 81"/>
                <a:gd name="T27" fmla="*/ 65 h 96"/>
                <a:gd name="T28" fmla="*/ 40 w 81"/>
                <a:gd name="T29" fmla="*/ 96 h 96"/>
                <a:gd name="T30" fmla="*/ 0 w 81"/>
                <a:gd name="T31" fmla="*/ 65 h 96"/>
                <a:gd name="T32" fmla="*/ 28 w 81"/>
                <a:gd name="T33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1" h="96">
                  <a:moveTo>
                    <a:pt x="28" y="65"/>
                  </a:moveTo>
                  <a:cubicBezTo>
                    <a:pt x="29" y="72"/>
                    <a:pt x="33" y="74"/>
                    <a:pt x="41" y="74"/>
                  </a:cubicBezTo>
                  <a:cubicBezTo>
                    <a:pt x="48" y="74"/>
                    <a:pt x="52" y="72"/>
                    <a:pt x="52" y="68"/>
                  </a:cubicBezTo>
                  <a:cubicBezTo>
                    <a:pt x="52" y="62"/>
                    <a:pt x="47" y="62"/>
                    <a:pt x="36" y="59"/>
                  </a:cubicBezTo>
                  <a:cubicBezTo>
                    <a:pt x="24" y="55"/>
                    <a:pt x="15" y="53"/>
                    <a:pt x="12" y="50"/>
                  </a:cubicBezTo>
                  <a:cubicBezTo>
                    <a:pt x="5" y="45"/>
                    <a:pt x="1" y="38"/>
                    <a:pt x="1" y="29"/>
                  </a:cubicBezTo>
                  <a:cubicBezTo>
                    <a:pt x="1" y="11"/>
                    <a:pt x="15" y="0"/>
                    <a:pt x="39" y="0"/>
                  </a:cubicBezTo>
                  <a:cubicBezTo>
                    <a:pt x="63" y="0"/>
                    <a:pt x="77" y="10"/>
                    <a:pt x="78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3"/>
                    <a:pt x="46" y="21"/>
                    <a:pt x="39" y="21"/>
                  </a:cubicBezTo>
                  <a:cubicBezTo>
                    <a:pt x="33" y="21"/>
                    <a:pt x="30" y="23"/>
                    <a:pt x="30" y="27"/>
                  </a:cubicBezTo>
                  <a:cubicBezTo>
                    <a:pt x="30" y="32"/>
                    <a:pt x="34" y="33"/>
                    <a:pt x="43" y="35"/>
                  </a:cubicBezTo>
                  <a:cubicBezTo>
                    <a:pt x="54" y="38"/>
                    <a:pt x="63" y="40"/>
                    <a:pt x="69" y="43"/>
                  </a:cubicBezTo>
                  <a:cubicBezTo>
                    <a:pt x="77" y="49"/>
                    <a:pt x="81" y="55"/>
                    <a:pt x="81" y="65"/>
                  </a:cubicBezTo>
                  <a:cubicBezTo>
                    <a:pt x="81" y="84"/>
                    <a:pt x="66" y="96"/>
                    <a:pt x="40" y="96"/>
                  </a:cubicBezTo>
                  <a:cubicBezTo>
                    <a:pt x="16" y="96"/>
                    <a:pt x="1" y="84"/>
                    <a:pt x="0" y="65"/>
                  </a:cubicBezTo>
                  <a:lnTo>
                    <a:pt x="28" y="65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6178D6E0-263D-45AD-BE10-D95989C1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5" y="2781300"/>
              <a:ext cx="1014413" cy="1092200"/>
            </a:xfrm>
            <a:custGeom>
              <a:avLst/>
              <a:gdLst>
                <a:gd name="T0" fmla="*/ 90 w 90"/>
                <a:gd name="T1" fmla="*/ 58 h 96"/>
                <a:gd name="T2" fmla="*/ 46 w 90"/>
                <a:gd name="T3" fmla="*/ 96 h 96"/>
                <a:gd name="T4" fmla="*/ 0 w 90"/>
                <a:gd name="T5" fmla="*/ 48 h 96"/>
                <a:gd name="T6" fmla="*/ 46 w 90"/>
                <a:gd name="T7" fmla="*/ 0 h 96"/>
                <a:gd name="T8" fmla="*/ 89 w 90"/>
                <a:gd name="T9" fmla="*/ 37 h 96"/>
                <a:gd name="T10" fmla="*/ 62 w 90"/>
                <a:gd name="T11" fmla="*/ 37 h 96"/>
                <a:gd name="T12" fmla="*/ 46 w 90"/>
                <a:gd name="T13" fmla="*/ 23 h 96"/>
                <a:gd name="T14" fmla="*/ 29 w 90"/>
                <a:gd name="T15" fmla="*/ 48 h 96"/>
                <a:gd name="T16" fmla="*/ 47 w 90"/>
                <a:gd name="T17" fmla="*/ 73 h 96"/>
                <a:gd name="T18" fmla="*/ 62 w 90"/>
                <a:gd name="T19" fmla="*/ 58 h 96"/>
                <a:gd name="T20" fmla="*/ 90 w 90"/>
                <a:gd name="T21" fmla="*/ 5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96">
                  <a:moveTo>
                    <a:pt x="90" y="58"/>
                  </a:moveTo>
                  <a:cubicBezTo>
                    <a:pt x="88" y="82"/>
                    <a:pt x="72" y="96"/>
                    <a:pt x="46" y="96"/>
                  </a:cubicBezTo>
                  <a:cubicBezTo>
                    <a:pt x="17" y="96"/>
                    <a:pt x="0" y="78"/>
                    <a:pt x="0" y="48"/>
                  </a:cubicBezTo>
                  <a:cubicBezTo>
                    <a:pt x="0" y="18"/>
                    <a:pt x="17" y="0"/>
                    <a:pt x="46" y="0"/>
                  </a:cubicBezTo>
                  <a:cubicBezTo>
                    <a:pt x="72" y="0"/>
                    <a:pt x="88" y="13"/>
                    <a:pt x="89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1" y="28"/>
                    <a:pt x="55" y="23"/>
                    <a:pt x="46" y="23"/>
                  </a:cubicBezTo>
                  <a:cubicBezTo>
                    <a:pt x="35" y="23"/>
                    <a:pt x="29" y="31"/>
                    <a:pt x="29" y="48"/>
                  </a:cubicBezTo>
                  <a:cubicBezTo>
                    <a:pt x="29" y="65"/>
                    <a:pt x="35" y="73"/>
                    <a:pt x="47" y="73"/>
                  </a:cubicBezTo>
                  <a:cubicBezTo>
                    <a:pt x="56" y="73"/>
                    <a:pt x="61" y="68"/>
                    <a:pt x="62" y="58"/>
                  </a:cubicBezTo>
                  <a:lnTo>
                    <a:pt x="90" y="58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5E418160-22DA-431A-9B45-BDEDF2B7B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4775" y="2816225"/>
              <a:ext cx="1014413" cy="1023938"/>
            </a:xfrm>
            <a:custGeom>
              <a:avLst/>
              <a:gdLst>
                <a:gd name="T0" fmla="*/ 0 w 639"/>
                <a:gd name="T1" fmla="*/ 0 h 645"/>
                <a:gd name="T2" fmla="*/ 206 w 639"/>
                <a:gd name="T3" fmla="*/ 0 h 645"/>
                <a:gd name="T4" fmla="*/ 320 w 639"/>
                <a:gd name="T5" fmla="*/ 415 h 645"/>
                <a:gd name="T6" fmla="*/ 433 w 639"/>
                <a:gd name="T7" fmla="*/ 0 h 645"/>
                <a:gd name="T8" fmla="*/ 639 w 639"/>
                <a:gd name="T9" fmla="*/ 0 h 645"/>
                <a:gd name="T10" fmla="*/ 419 w 639"/>
                <a:gd name="T11" fmla="*/ 645 h 645"/>
                <a:gd name="T12" fmla="*/ 213 w 639"/>
                <a:gd name="T13" fmla="*/ 645 h 645"/>
                <a:gd name="T14" fmla="*/ 0 w 639"/>
                <a:gd name="T15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645">
                  <a:moveTo>
                    <a:pt x="0" y="0"/>
                  </a:moveTo>
                  <a:lnTo>
                    <a:pt x="206" y="0"/>
                  </a:lnTo>
                  <a:lnTo>
                    <a:pt x="320" y="415"/>
                  </a:lnTo>
                  <a:lnTo>
                    <a:pt x="433" y="0"/>
                  </a:lnTo>
                  <a:lnTo>
                    <a:pt x="639" y="0"/>
                  </a:lnTo>
                  <a:lnTo>
                    <a:pt x="419" y="645"/>
                  </a:lnTo>
                  <a:lnTo>
                    <a:pt x="213" y="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91A4F274-1376-4B3F-9106-428B3F243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" y="2781300"/>
              <a:ext cx="1295400" cy="1092200"/>
            </a:xfrm>
            <a:custGeom>
              <a:avLst/>
              <a:gdLst>
                <a:gd name="T0" fmla="*/ 4 w 115"/>
                <a:gd name="T1" fmla="*/ 42 h 96"/>
                <a:gd name="T2" fmla="*/ 0 w 115"/>
                <a:gd name="T3" fmla="*/ 33 h 96"/>
                <a:gd name="T4" fmla="*/ 4 w 115"/>
                <a:gd name="T5" fmla="*/ 23 h 96"/>
                <a:gd name="T6" fmla="*/ 22 w 115"/>
                <a:gd name="T7" fmla="*/ 4 h 96"/>
                <a:gd name="T8" fmla="*/ 32 w 115"/>
                <a:gd name="T9" fmla="*/ 0 h 96"/>
                <a:gd name="T10" fmla="*/ 42 w 115"/>
                <a:gd name="T11" fmla="*/ 4 h 96"/>
                <a:gd name="T12" fmla="*/ 58 w 115"/>
                <a:gd name="T13" fmla="*/ 20 h 96"/>
                <a:gd name="T14" fmla="*/ 73 w 115"/>
                <a:gd name="T15" fmla="*/ 4 h 96"/>
                <a:gd name="T16" fmla="*/ 83 w 115"/>
                <a:gd name="T17" fmla="*/ 0 h 96"/>
                <a:gd name="T18" fmla="*/ 93 w 115"/>
                <a:gd name="T19" fmla="*/ 4 h 96"/>
                <a:gd name="T20" fmla="*/ 111 w 115"/>
                <a:gd name="T21" fmla="*/ 23 h 96"/>
                <a:gd name="T22" fmla="*/ 115 w 115"/>
                <a:gd name="T23" fmla="*/ 33 h 96"/>
                <a:gd name="T24" fmla="*/ 111 w 115"/>
                <a:gd name="T25" fmla="*/ 42 h 96"/>
                <a:gd name="T26" fmla="*/ 58 w 115"/>
                <a:gd name="T27" fmla="*/ 96 h 96"/>
                <a:gd name="T28" fmla="*/ 57 w 115"/>
                <a:gd name="T29" fmla="*/ 96 h 96"/>
                <a:gd name="T30" fmla="*/ 4 w 115"/>
                <a:gd name="T31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6">
                  <a:moveTo>
                    <a:pt x="4" y="42"/>
                  </a:moveTo>
                  <a:cubicBezTo>
                    <a:pt x="1" y="40"/>
                    <a:pt x="0" y="36"/>
                    <a:pt x="0" y="33"/>
                  </a:cubicBezTo>
                  <a:cubicBezTo>
                    <a:pt x="0" y="29"/>
                    <a:pt x="1" y="25"/>
                    <a:pt x="4" y="2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6" y="0"/>
                    <a:pt x="39" y="1"/>
                    <a:pt x="42" y="4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6" y="1"/>
                    <a:pt x="79" y="0"/>
                    <a:pt x="83" y="0"/>
                  </a:cubicBezTo>
                  <a:cubicBezTo>
                    <a:pt x="87" y="0"/>
                    <a:pt x="90" y="1"/>
                    <a:pt x="93" y="4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4" y="25"/>
                    <a:pt x="115" y="29"/>
                    <a:pt x="115" y="33"/>
                  </a:cubicBezTo>
                  <a:cubicBezTo>
                    <a:pt x="115" y="36"/>
                    <a:pt x="114" y="40"/>
                    <a:pt x="111" y="42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7" y="96"/>
                    <a:pt x="57" y="96"/>
                    <a:pt x="57" y="96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305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815" r:id="rId2"/>
    <p:sldLayoutId id="2147483804" r:id="rId3"/>
    <p:sldLayoutId id="2147483775" r:id="rId4"/>
    <p:sldLayoutId id="2147483776" r:id="rId5"/>
    <p:sldLayoutId id="2147483777" r:id="rId6"/>
    <p:sldLayoutId id="2147483805" r:id="rId7"/>
    <p:sldLayoutId id="2147483806" r:id="rId8"/>
    <p:sldLayoutId id="2147483808" r:id="rId9"/>
    <p:sldLayoutId id="2147483807" r:id="rId10"/>
    <p:sldLayoutId id="2147483814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2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200025" indent="-200025" algn="l" defTabSz="914400" rtl="0" eaLnBrk="1" latinLnBrk="0" hangingPunct="1">
        <a:spcBef>
          <a:spcPts val="12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800" b="0" i="0" kern="1200">
          <a:solidFill>
            <a:schemeClr val="tx2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orge M. Hillocks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BM</a:t>
            </a:r>
            <a:br>
              <a:rPr lang="en-US" dirty="0"/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siness Canv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/2/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2080" y="0"/>
            <a:ext cx="4436745" cy="3429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8E5268C-C141-4840-9D00-CD333097B788}"/>
              </a:ext>
            </a:extLst>
          </p:cNvPr>
          <p:cNvSpPr/>
          <p:nvPr/>
        </p:nvSpPr>
        <p:spPr>
          <a:xfrm>
            <a:off x="7749346" y="3314331"/>
            <a:ext cx="4442653" cy="5299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008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chitecture Plann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49346" y="3283084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49345" y="3799295"/>
            <a:ext cx="4442654" cy="74842"/>
          </a:xfrm>
          <a:prstGeom prst="rect">
            <a:avLst/>
          </a:prstGeom>
          <a:solidFill>
            <a:srgbClr val="043B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96675" y="3403488"/>
            <a:ext cx="426894" cy="36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4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902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extLst>
              <p:ext uri="{D42A27DB-BD31-4B8C-83A1-F6EECF244321}">
                <p14:modId xmlns:p14="http://schemas.microsoft.com/office/powerpoint/2010/main" val="3757922580"/>
              </p:ext>
            </p:extLst>
          </p:nvPr>
        </p:nvSpPr>
        <p:spPr/>
        <p:txBody>
          <a:bodyPr/>
          <a:lstStyle/>
          <a:p>
            <a:r>
              <a:rPr lang="en-US" dirty="0"/>
              <a:t>PBM - Business Canva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istic view of the current PBM business model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C2180E-ADC9-45E8-ACAC-AA8639D58EB0}"/>
              </a:ext>
            </a:extLst>
          </p:cNvPr>
          <p:cNvSpPr txBox="1"/>
          <p:nvPr/>
        </p:nvSpPr>
        <p:spPr>
          <a:xfrm>
            <a:off x="497149" y="1846555"/>
            <a:ext cx="2237169" cy="27403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Partnershi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64B917-4738-4EDA-9C92-C7733ED9246B}"/>
              </a:ext>
            </a:extLst>
          </p:cNvPr>
          <p:cNvSpPr txBox="1"/>
          <p:nvPr/>
        </p:nvSpPr>
        <p:spPr>
          <a:xfrm>
            <a:off x="4971495" y="1841673"/>
            <a:ext cx="2237169" cy="27452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Value Proposi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DD8883-8AB8-4DAB-9896-B97679AB488E}"/>
              </a:ext>
            </a:extLst>
          </p:cNvPr>
          <p:cNvSpPr txBox="1"/>
          <p:nvPr/>
        </p:nvSpPr>
        <p:spPr>
          <a:xfrm>
            <a:off x="497149" y="4580584"/>
            <a:ext cx="5598851" cy="16464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ost Structu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78C51-56DA-401E-BD94-28EE8597FE01}"/>
              </a:ext>
            </a:extLst>
          </p:cNvPr>
          <p:cNvSpPr txBox="1"/>
          <p:nvPr/>
        </p:nvSpPr>
        <p:spPr>
          <a:xfrm>
            <a:off x="2729883" y="1846556"/>
            <a:ext cx="2237169" cy="1524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Activit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A11D69-3879-4CCB-BAC8-6104091602CD}"/>
              </a:ext>
            </a:extLst>
          </p:cNvPr>
          <p:cNvSpPr txBox="1"/>
          <p:nvPr/>
        </p:nvSpPr>
        <p:spPr>
          <a:xfrm>
            <a:off x="9452503" y="1840418"/>
            <a:ext cx="2239385" cy="2740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2F0882-378F-43E3-B718-5F38E6584BD9}"/>
              </a:ext>
            </a:extLst>
          </p:cNvPr>
          <p:cNvSpPr txBox="1"/>
          <p:nvPr/>
        </p:nvSpPr>
        <p:spPr>
          <a:xfrm>
            <a:off x="7213110" y="1840418"/>
            <a:ext cx="2237169" cy="11969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ustomer Relationshi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BCF63C-1DFD-48EA-9435-EE4343DE3D94}"/>
              </a:ext>
            </a:extLst>
          </p:cNvPr>
          <p:cNvSpPr txBox="1"/>
          <p:nvPr/>
        </p:nvSpPr>
        <p:spPr>
          <a:xfrm>
            <a:off x="2732101" y="3385137"/>
            <a:ext cx="2237169" cy="12018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Key Resourc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F2A279-C025-414A-A9FC-A0F11D339A1E}"/>
              </a:ext>
            </a:extLst>
          </p:cNvPr>
          <p:cNvSpPr txBox="1"/>
          <p:nvPr/>
        </p:nvSpPr>
        <p:spPr>
          <a:xfrm>
            <a:off x="7213109" y="3046352"/>
            <a:ext cx="2237169" cy="1540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Channel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00DCEC-069C-4C4E-84BA-825262ABB16E}"/>
              </a:ext>
            </a:extLst>
          </p:cNvPr>
          <p:cNvSpPr txBox="1"/>
          <p:nvPr/>
        </p:nvSpPr>
        <p:spPr>
          <a:xfrm>
            <a:off x="6093037" y="4586949"/>
            <a:ext cx="5598851" cy="16464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1" dirty="0">
                <a:solidFill>
                  <a:schemeClr val="tx2"/>
                </a:solidFill>
                <a:cs typeface="Open Sans Light"/>
              </a:rPr>
              <a:t>Revenue Streams</a:t>
            </a:r>
          </a:p>
        </p:txBody>
      </p:sp>
      <p:sp>
        <p:nvSpPr>
          <p:cNvPr id="63" name="Rectangle 28">
            <a:extLst>
              <a:ext uri="{FF2B5EF4-FFF2-40B4-BE49-F238E27FC236}">
                <a16:creationId xmlns:a16="http://schemas.microsoft.com/office/drawing/2014/main" id="{2123BDB0-89C9-4631-9747-A37B2DED0E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67696" y="3611088"/>
            <a:ext cx="19071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3037" lvl="1" indent="-171450" defTabSz="820738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  <a:p>
            <a:pPr marL="1587" lvl="1" defTabSz="820738" eaLnBrk="0" hangingPunct="0">
              <a:buClr>
                <a:schemeClr val="tx1"/>
              </a:buClr>
            </a:pPr>
            <a:endParaRPr lang="en-US" sz="900" i="1" dirty="0">
              <a:solidFill>
                <a:srgbClr val="FF4848"/>
              </a:solidFill>
              <a:latin typeface="Verdana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D035DC9-042A-4840-B93E-44E768754787}"/>
              </a:ext>
            </a:extLst>
          </p:cNvPr>
          <p:cNvSpPr/>
          <p:nvPr/>
        </p:nvSpPr>
        <p:spPr>
          <a:xfrm>
            <a:off x="543197" y="212145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8CCC1087-B21B-7340-9F04-A7B26F03271B}"/>
              </a:ext>
            </a:extLst>
          </p:cNvPr>
          <p:cNvSpPr/>
          <p:nvPr/>
        </p:nvSpPr>
        <p:spPr>
          <a:xfrm>
            <a:off x="1674163" y="213074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56F651C-283D-DE4A-A2C5-230A4DA6A5CA}"/>
              </a:ext>
            </a:extLst>
          </p:cNvPr>
          <p:cNvSpPr/>
          <p:nvPr/>
        </p:nvSpPr>
        <p:spPr>
          <a:xfrm>
            <a:off x="1655822" y="37304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munication Vendor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32B7D7C-7C34-0549-8B8B-EB2D0FD171EB}"/>
              </a:ext>
            </a:extLst>
          </p:cNvPr>
          <p:cNvSpPr/>
          <p:nvPr/>
        </p:nvSpPr>
        <p:spPr>
          <a:xfrm>
            <a:off x="1660818" y="308932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cs typeface="Open Sans Bold"/>
              </a:rPr>
              <a:t>Suppli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ufacturers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B7DB3C92-04C4-AF4B-B778-79F3BF461CF4}"/>
              </a:ext>
            </a:extLst>
          </p:cNvPr>
          <p:cNvSpPr/>
          <p:nvPr/>
        </p:nvSpPr>
        <p:spPr>
          <a:xfrm>
            <a:off x="1649223" y="342413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ureScripts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 (</a:t>
            </a:r>
            <a:r>
              <a:rPr lang="en-US" sz="800" dirty="0" err="1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Rx</a:t>
            </a:r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)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43A1601-742F-3247-9BCE-4E767B5D7BEE}"/>
              </a:ext>
            </a:extLst>
          </p:cNvPr>
          <p:cNvSpPr/>
          <p:nvPr/>
        </p:nvSpPr>
        <p:spPr>
          <a:xfrm>
            <a:off x="563193" y="30971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lay Health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(Network)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260A4CD1-2AD3-5846-B7FB-EB59E787287E}"/>
              </a:ext>
            </a:extLst>
          </p:cNvPr>
          <p:cNvSpPr/>
          <p:nvPr/>
        </p:nvSpPr>
        <p:spPr>
          <a:xfrm>
            <a:off x="555049" y="342195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6C7804A-D0C8-9C48-A878-A7BE7498334E}"/>
              </a:ext>
            </a:extLst>
          </p:cNvPr>
          <p:cNvSpPr/>
          <p:nvPr/>
        </p:nvSpPr>
        <p:spPr>
          <a:xfrm>
            <a:off x="542824" y="37349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ata Vendo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bers/Drug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78EE5E0-C30A-2948-AABE-1D718E989B62}"/>
              </a:ext>
            </a:extLst>
          </p:cNvPr>
          <p:cNvSpPr/>
          <p:nvPr/>
        </p:nvSpPr>
        <p:spPr>
          <a:xfrm>
            <a:off x="550180" y="244660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BMs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4B6C0686-86C3-DB4A-8020-498054688D59}"/>
              </a:ext>
            </a:extLst>
          </p:cNvPr>
          <p:cNvSpPr/>
          <p:nvPr/>
        </p:nvSpPr>
        <p:spPr>
          <a:xfrm>
            <a:off x="2781483" y="21214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 Order Pharmacy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0A4C75B-478A-D942-82A9-BBE1685BB0E0}"/>
              </a:ext>
            </a:extLst>
          </p:cNvPr>
          <p:cNvSpPr/>
          <p:nvPr/>
        </p:nvSpPr>
        <p:spPr>
          <a:xfrm>
            <a:off x="3869572" y="212088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aim Adjudication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A4FEDF55-8E9C-EA4F-90F8-64204D35518D}"/>
              </a:ext>
            </a:extLst>
          </p:cNvPr>
          <p:cNvSpPr/>
          <p:nvPr/>
        </p:nvSpPr>
        <p:spPr>
          <a:xfrm>
            <a:off x="1650524" y="277203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tail Pharmacies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B29A429-86E9-B345-AFE5-8E02AA1D17D4}"/>
              </a:ext>
            </a:extLst>
          </p:cNvPr>
          <p:cNvSpPr/>
          <p:nvPr/>
        </p:nvSpPr>
        <p:spPr>
          <a:xfrm>
            <a:off x="549447" y="277203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VS Pharmacy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878BA539-0BFC-A047-B0E4-4F276E567751}"/>
              </a:ext>
            </a:extLst>
          </p:cNvPr>
          <p:cNvSpPr/>
          <p:nvPr/>
        </p:nvSpPr>
        <p:spPr>
          <a:xfrm>
            <a:off x="1660818" y="24601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ilver Script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surance Co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84E1FC95-16FB-3345-AAF6-11A4C7E8F629}"/>
              </a:ext>
            </a:extLst>
          </p:cNvPr>
          <p:cNvSpPr/>
          <p:nvPr/>
        </p:nvSpPr>
        <p:spPr>
          <a:xfrm>
            <a:off x="2780405" y="244048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 Care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152CF4C3-F6CE-564C-AFAA-A0168BF3D3C1}"/>
              </a:ext>
            </a:extLst>
          </p:cNvPr>
          <p:cNvSpPr/>
          <p:nvPr/>
        </p:nvSpPr>
        <p:spPr>
          <a:xfrm>
            <a:off x="3868494" y="244167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nical  Services</a:t>
            </a: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0DF71BF9-C9C5-814B-9FFE-AB915E5BC1FF}"/>
              </a:ext>
            </a:extLst>
          </p:cNvPr>
          <p:cNvSpPr/>
          <p:nvPr/>
        </p:nvSpPr>
        <p:spPr>
          <a:xfrm>
            <a:off x="2771790" y="36012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5097896A-BF03-C140-9600-DC9FB14A68EE}"/>
              </a:ext>
            </a:extLst>
          </p:cNvPr>
          <p:cNvSpPr/>
          <p:nvPr/>
        </p:nvSpPr>
        <p:spPr>
          <a:xfrm>
            <a:off x="3879543" y="36006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ales and Market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65BC9BA-6841-4048-B75F-BDDE6FD60351}"/>
              </a:ext>
            </a:extLst>
          </p:cNvPr>
          <p:cNvSpPr/>
          <p:nvPr/>
        </p:nvSpPr>
        <p:spPr>
          <a:xfrm>
            <a:off x="2780405" y="39260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D8468F55-CE0E-D248-ABAA-29407335C779}"/>
              </a:ext>
            </a:extLst>
          </p:cNvPr>
          <p:cNvSpPr/>
          <p:nvPr/>
        </p:nvSpPr>
        <p:spPr>
          <a:xfrm>
            <a:off x="3868494" y="392723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enefits Administrator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F4B40773-793B-C444-B424-53452E9A7977}"/>
              </a:ext>
            </a:extLst>
          </p:cNvPr>
          <p:cNvSpPr/>
          <p:nvPr/>
        </p:nvSpPr>
        <p:spPr>
          <a:xfrm>
            <a:off x="2783146" y="275329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Benefit Management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F1941F9-4B8A-784B-9AA1-B148FFD40194}"/>
              </a:ext>
            </a:extLst>
          </p:cNvPr>
          <p:cNvSpPr/>
          <p:nvPr/>
        </p:nvSpPr>
        <p:spPr>
          <a:xfrm>
            <a:off x="3871235" y="27544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&amp; Member Billing</a:t>
            </a: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588CE193-1244-3B45-BB0D-5C3B85722D10}"/>
              </a:ext>
            </a:extLst>
          </p:cNvPr>
          <p:cNvSpPr/>
          <p:nvPr/>
        </p:nvSpPr>
        <p:spPr>
          <a:xfrm>
            <a:off x="547615" y="40446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Shippers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PS/USPS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A9989093-E47A-E44A-80AF-3770601A210E}"/>
              </a:ext>
            </a:extLst>
          </p:cNvPr>
          <p:cNvSpPr/>
          <p:nvPr/>
        </p:nvSpPr>
        <p:spPr>
          <a:xfrm>
            <a:off x="1663982" y="404512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ank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348FAF4C-05AF-D243-9455-6AD6FFED285A}"/>
              </a:ext>
            </a:extLst>
          </p:cNvPr>
          <p:cNvSpPr/>
          <p:nvPr/>
        </p:nvSpPr>
        <p:spPr>
          <a:xfrm>
            <a:off x="2785325" y="423576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Analytics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89ADD44F-E12E-A842-A74E-7A320C7CD475}"/>
              </a:ext>
            </a:extLst>
          </p:cNvPr>
          <p:cNvSpPr/>
          <p:nvPr/>
        </p:nvSpPr>
        <p:spPr>
          <a:xfrm>
            <a:off x="2788465" y="305399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bates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39D2B642-1CF4-DC47-AC54-2E058E12A6E6}"/>
              </a:ext>
            </a:extLst>
          </p:cNvPr>
          <p:cNvSpPr/>
          <p:nvPr/>
        </p:nvSpPr>
        <p:spPr>
          <a:xfrm>
            <a:off x="3879543" y="306121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lan Design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73D049B8-D8BD-3D4D-8F8C-879F5026C949}"/>
              </a:ext>
            </a:extLst>
          </p:cNvPr>
          <p:cNvSpPr/>
          <p:nvPr/>
        </p:nvSpPr>
        <p:spPr>
          <a:xfrm>
            <a:off x="5040453" y="211832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Transform Care</a:t>
            </a: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6AF3723C-B7FA-934C-A508-A10EF62CA4B2}"/>
              </a:ext>
            </a:extLst>
          </p:cNvPr>
          <p:cNvSpPr/>
          <p:nvPr/>
        </p:nvSpPr>
        <p:spPr>
          <a:xfrm>
            <a:off x="5040453" y="30823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y Advisor</a:t>
            </a: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2B9B16D9-74B5-5D47-8DB4-A814A676FEC6}"/>
              </a:ext>
            </a:extLst>
          </p:cNvPr>
          <p:cNvSpPr/>
          <p:nvPr/>
        </p:nvSpPr>
        <p:spPr>
          <a:xfrm>
            <a:off x="5040453" y="243967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ntenance Choice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41ECCB6-A136-2A4D-8C1F-8EA13A11A287}"/>
              </a:ext>
            </a:extLst>
          </p:cNvPr>
          <p:cNvSpPr/>
          <p:nvPr/>
        </p:nvSpPr>
        <p:spPr>
          <a:xfrm>
            <a:off x="6141633" y="211733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ormulary Management</a:t>
            </a:r>
          </a:p>
        </p:txBody>
      </p:sp>
      <p:sp>
        <p:nvSpPr>
          <p:cNvPr id="56" name="Rounded Rectangle 55">
            <a:extLst>
              <a:ext uri="{FF2B5EF4-FFF2-40B4-BE49-F238E27FC236}">
                <a16:creationId xmlns:a16="http://schemas.microsoft.com/office/drawing/2014/main" id="{0BDF6A60-FD32-3A4C-8B2C-061820FE4FF9}"/>
              </a:ext>
            </a:extLst>
          </p:cNvPr>
          <p:cNvSpPr/>
          <p:nvPr/>
        </p:nvSpPr>
        <p:spPr>
          <a:xfrm>
            <a:off x="5040453" y="27610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Networks</a:t>
            </a:r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86933C5E-F28F-3244-B5AF-604392E188B4}"/>
              </a:ext>
            </a:extLst>
          </p:cNvPr>
          <p:cNvSpPr/>
          <p:nvPr/>
        </p:nvSpPr>
        <p:spPr>
          <a:xfrm>
            <a:off x="7270641" y="32967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il</a:t>
            </a: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6FD0105-2849-094B-803B-A7BE34451892}"/>
              </a:ext>
            </a:extLst>
          </p:cNvPr>
          <p:cNvSpPr/>
          <p:nvPr/>
        </p:nvSpPr>
        <p:spPr>
          <a:xfrm>
            <a:off x="8358730" y="329615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ail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58917A6-874C-3F45-90B1-EA48D3C0DA9E}"/>
              </a:ext>
            </a:extLst>
          </p:cNvPr>
          <p:cNvSpPr/>
          <p:nvPr/>
        </p:nvSpPr>
        <p:spPr>
          <a:xfrm>
            <a:off x="7269563" y="361576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</a:t>
            </a:r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F7B35F71-3937-6F4B-8A6D-8B4C0072094A}"/>
              </a:ext>
            </a:extLst>
          </p:cNvPr>
          <p:cNvSpPr/>
          <p:nvPr/>
        </p:nvSpPr>
        <p:spPr>
          <a:xfrm>
            <a:off x="8357652" y="36169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Text,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2-way SMS</a:t>
            </a:r>
          </a:p>
        </p:txBody>
      </p: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F53CA91D-297A-3D49-B9FC-F7D9C91C4829}"/>
              </a:ext>
            </a:extLst>
          </p:cNvPr>
          <p:cNvSpPr/>
          <p:nvPr/>
        </p:nvSpPr>
        <p:spPr>
          <a:xfrm>
            <a:off x="7272304" y="392857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7A5C1CB0-4CA6-1942-B823-D994E1027521}"/>
              </a:ext>
            </a:extLst>
          </p:cNvPr>
          <p:cNvSpPr/>
          <p:nvPr/>
        </p:nvSpPr>
        <p:spPr>
          <a:xfrm>
            <a:off x="8360393" y="39297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VR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4B8E2F2-20DC-D74D-B5DE-D2247F51C7C3}"/>
              </a:ext>
            </a:extLst>
          </p:cNvPr>
          <p:cNvSpPr/>
          <p:nvPr/>
        </p:nvSpPr>
        <p:spPr>
          <a:xfrm>
            <a:off x="7277623" y="422927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x - Prescribers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63E9AFAB-EE2E-214D-B2EB-16F8D25268DB}"/>
              </a:ext>
            </a:extLst>
          </p:cNvPr>
          <p:cNvSpPr/>
          <p:nvPr/>
        </p:nvSpPr>
        <p:spPr>
          <a:xfrm>
            <a:off x="8368701" y="42364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-Messaging - Prescribers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48E23631-2687-FB4E-8726-F2C34E759BD8}"/>
              </a:ext>
            </a:extLst>
          </p:cNvPr>
          <p:cNvSpPr/>
          <p:nvPr/>
        </p:nvSpPr>
        <p:spPr>
          <a:xfrm>
            <a:off x="9502251" y="21311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Health Plans</a:t>
            </a: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B692A904-4387-1B4D-874F-CA3C0BA516F5}"/>
              </a:ext>
            </a:extLst>
          </p:cNvPr>
          <p:cNvSpPr/>
          <p:nvPr/>
        </p:nvSpPr>
        <p:spPr>
          <a:xfrm>
            <a:off x="10601389" y="2130613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Employers</a:t>
            </a: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1B8D5A2C-3BED-7B4F-998B-03C86F0554BB}"/>
              </a:ext>
            </a:extLst>
          </p:cNvPr>
          <p:cNvSpPr/>
          <p:nvPr/>
        </p:nvSpPr>
        <p:spPr>
          <a:xfrm>
            <a:off x="9502251" y="244203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Unions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:a16="http://schemas.microsoft.com/office/drawing/2014/main" id="{728C621E-EB0D-4745-A6F1-0448DE6499B5}"/>
              </a:ext>
            </a:extLst>
          </p:cNvPr>
          <p:cNvSpPr/>
          <p:nvPr/>
        </p:nvSpPr>
        <p:spPr>
          <a:xfrm>
            <a:off x="10601389" y="24440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Government Employee Groups</a:t>
            </a:r>
          </a:p>
        </p:txBody>
      </p:sp>
      <p:sp>
        <p:nvSpPr>
          <p:cNvPr id="75" name="Rounded Rectangle 74">
            <a:extLst>
              <a:ext uri="{FF2B5EF4-FFF2-40B4-BE49-F238E27FC236}">
                <a16:creationId xmlns:a16="http://schemas.microsoft.com/office/drawing/2014/main" id="{A44C0B71-7044-0F4B-8F98-6FC170D9C4FE}"/>
              </a:ext>
            </a:extLst>
          </p:cNvPr>
          <p:cNvSpPr/>
          <p:nvPr/>
        </p:nvSpPr>
        <p:spPr>
          <a:xfrm>
            <a:off x="9502251" y="275288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escription Drug Plans (PDP)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A854A1C2-69B7-DD41-9CB7-53866C75B56D}"/>
              </a:ext>
            </a:extLst>
          </p:cNvPr>
          <p:cNvSpPr/>
          <p:nvPr/>
        </p:nvSpPr>
        <p:spPr>
          <a:xfrm>
            <a:off x="10601389" y="275749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naged Medicaid</a:t>
            </a: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EC1C7B29-0880-F440-8A48-49A8D2B28406}"/>
              </a:ext>
            </a:extLst>
          </p:cNvPr>
          <p:cNvSpPr/>
          <p:nvPr/>
        </p:nvSpPr>
        <p:spPr>
          <a:xfrm>
            <a:off x="9502251" y="306372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ublic Exchanges</a:t>
            </a:r>
          </a:p>
        </p:txBody>
      </p:sp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AC6137BD-D57C-D147-87C7-30B4EECBFAF5}"/>
              </a:ext>
            </a:extLst>
          </p:cNvPr>
          <p:cNvSpPr/>
          <p:nvPr/>
        </p:nvSpPr>
        <p:spPr>
          <a:xfrm>
            <a:off x="10601389" y="3070942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rivate Exchanges</a:t>
            </a:r>
          </a:p>
        </p:txBody>
      </p:sp>
      <p:sp>
        <p:nvSpPr>
          <p:cNvPr id="79" name="Rounded Rectangle 78">
            <a:extLst>
              <a:ext uri="{FF2B5EF4-FFF2-40B4-BE49-F238E27FC236}">
                <a16:creationId xmlns:a16="http://schemas.microsoft.com/office/drawing/2014/main" id="{1906DFB1-4BDD-9C4B-8CE6-41D6451E1136}"/>
              </a:ext>
            </a:extLst>
          </p:cNvPr>
          <p:cNvSpPr/>
          <p:nvPr/>
        </p:nvSpPr>
        <p:spPr>
          <a:xfrm>
            <a:off x="2262749" y="490734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ustomer Service Reps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8715E7E3-1517-AA4A-9DD0-998B3E6CC3E4}"/>
              </a:ext>
            </a:extLst>
          </p:cNvPr>
          <p:cNvSpPr/>
          <p:nvPr/>
        </p:nvSpPr>
        <p:spPr>
          <a:xfrm>
            <a:off x="3350838" y="490676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ventory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F11FCC5-FB3E-A645-8D6F-EC1F48AEB69F}"/>
              </a:ext>
            </a:extLst>
          </p:cNvPr>
          <p:cNvSpPr/>
          <p:nvPr/>
        </p:nvSpPr>
        <p:spPr>
          <a:xfrm>
            <a:off x="2261671" y="5226375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armacists &amp; Pharmacy Techs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FC699673-9CAC-DC42-AE72-39E2CC5999A0}"/>
              </a:ext>
            </a:extLst>
          </p:cNvPr>
          <p:cNvSpPr/>
          <p:nvPr/>
        </p:nvSpPr>
        <p:spPr>
          <a:xfrm>
            <a:off x="3349760" y="52275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arketing &amp; Sales</a:t>
            </a:r>
          </a:p>
        </p:txBody>
      </p:sp>
      <p:sp>
        <p:nvSpPr>
          <p:cNvPr id="83" name="Rounded Rectangle 82">
            <a:extLst>
              <a:ext uri="{FF2B5EF4-FFF2-40B4-BE49-F238E27FC236}">
                <a16:creationId xmlns:a16="http://schemas.microsoft.com/office/drawing/2014/main" id="{1F362C5D-8867-CD40-952A-B3385217D6C5}"/>
              </a:ext>
            </a:extLst>
          </p:cNvPr>
          <p:cNvSpPr/>
          <p:nvPr/>
        </p:nvSpPr>
        <p:spPr>
          <a:xfrm>
            <a:off x="2264412" y="553918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erformance Guarantees</a:t>
            </a: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C1D6B742-398C-794D-9D5D-243DFB127B8C}"/>
              </a:ext>
            </a:extLst>
          </p:cNvPr>
          <p:cNvSpPr/>
          <p:nvPr/>
        </p:nvSpPr>
        <p:spPr>
          <a:xfrm>
            <a:off x="3352501" y="554036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mpliance &amp; Regulatory</a:t>
            </a:r>
          </a:p>
        </p:txBody>
      </p:sp>
      <p:sp>
        <p:nvSpPr>
          <p:cNvPr id="85" name="Rounded Rectangle 84">
            <a:extLst>
              <a:ext uri="{FF2B5EF4-FFF2-40B4-BE49-F238E27FC236}">
                <a16:creationId xmlns:a16="http://schemas.microsoft.com/office/drawing/2014/main" id="{8DD0031F-0458-AA45-AF61-F1D95867CC90}"/>
              </a:ext>
            </a:extLst>
          </p:cNvPr>
          <p:cNvSpPr/>
          <p:nvPr/>
        </p:nvSpPr>
        <p:spPr>
          <a:xfrm>
            <a:off x="6141633" y="243869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ebates</a:t>
            </a:r>
          </a:p>
        </p:txBody>
      </p:sp>
      <p:sp>
        <p:nvSpPr>
          <p:cNvPr id="86" name="Rounded Rectangle 85">
            <a:extLst>
              <a:ext uri="{FF2B5EF4-FFF2-40B4-BE49-F238E27FC236}">
                <a16:creationId xmlns:a16="http://schemas.microsoft.com/office/drawing/2014/main" id="{ECC88B5F-1F68-2D48-94C0-39C1BA8A2BBB}"/>
              </a:ext>
            </a:extLst>
          </p:cNvPr>
          <p:cNvSpPr/>
          <p:nvPr/>
        </p:nvSpPr>
        <p:spPr>
          <a:xfrm>
            <a:off x="6141633" y="276004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Brand to Generic Substitutions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4F7BB569-2BAB-4F48-9ACB-0D42B51226D2}"/>
              </a:ext>
            </a:extLst>
          </p:cNvPr>
          <p:cNvSpPr/>
          <p:nvPr/>
        </p:nvSpPr>
        <p:spPr>
          <a:xfrm>
            <a:off x="7269156" y="490670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 Pay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1DFEF882-41D8-7C42-A0FB-84E8AEBEBF7F}"/>
              </a:ext>
            </a:extLst>
          </p:cNvPr>
          <p:cNvSpPr/>
          <p:nvPr/>
        </p:nvSpPr>
        <p:spPr>
          <a:xfrm>
            <a:off x="8357245" y="49061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o-Pay</a:t>
            </a: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1EFBF145-8AF3-714F-A7EA-48AA30019F8A}"/>
              </a:ext>
            </a:extLst>
          </p:cNvPr>
          <p:cNvSpPr/>
          <p:nvPr/>
        </p:nvSpPr>
        <p:spPr>
          <a:xfrm>
            <a:off x="7269156" y="5226311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MS Subsidies for Med-D</a:t>
            </a:r>
          </a:p>
        </p:txBody>
      </p:sp>
      <p:sp>
        <p:nvSpPr>
          <p:cNvPr id="91" name="Rounded Rectangle 90">
            <a:extLst>
              <a:ext uri="{FF2B5EF4-FFF2-40B4-BE49-F238E27FC236}">
                <a16:creationId xmlns:a16="http://schemas.microsoft.com/office/drawing/2014/main" id="{C7C560BE-7581-8A42-BD84-D66C51949BA4}"/>
              </a:ext>
            </a:extLst>
          </p:cNvPr>
          <p:cNvSpPr/>
          <p:nvPr/>
        </p:nvSpPr>
        <p:spPr>
          <a:xfrm>
            <a:off x="8357245" y="522573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Rx Network Admin Fees</a:t>
            </a: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DCA42181-5E1F-2A40-9CAB-B5D9F8C0DD13}"/>
              </a:ext>
            </a:extLst>
          </p:cNvPr>
          <p:cNvSpPr/>
          <p:nvPr/>
        </p:nvSpPr>
        <p:spPr>
          <a:xfrm>
            <a:off x="9442130" y="4906127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DP Premiums</a:t>
            </a: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id="{6FA2A1C9-C29C-9140-A899-20354FF97F4B}"/>
              </a:ext>
            </a:extLst>
          </p:cNvPr>
          <p:cNvSpPr/>
          <p:nvPr/>
        </p:nvSpPr>
        <p:spPr>
          <a:xfrm>
            <a:off x="7278701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Face to Face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24AF1E58-F726-5144-B3E7-0231F5BC1F43}"/>
              </a:ext>
            </a:extLst>
          </p:cNvPr>
          <p:cNvSpPr/>
          <p:nvPr/>
        </p:nvSpPr>
        <p:spPr>
          <a:xfrm>
            <a:off x="7277623" y="242188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hone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 Patients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7D4CC920-8FAB-544A-8A7C-5DA87B1EB109}"/>
              </a:ext>
            </a:extLst>
          </p:cNvPr>
          <p:cNvSpPr/>
          <p:nvPr/>
        </p:nvSpPr>
        <p:spPr>
          <a:xfrm>
            <a:off x="8357245" y="2102856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Digital </a:t>
            </a:r>
          </a:p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Clients &amp; Patients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45C0E967-8554-3A40-87E7-C083BFA2CAAA}"/>
              </a:ext>
            </a:extLst>
          </p:cNvPr>
          <p:cNvSpPr/>
          <p:nvPr/>
        </p:nvSpPr>
        <p:spPr>
          <a:xfrm>
            <a:off x="9502251" y="3374149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Patients</a:t>
            </a:r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id="{EE9C9338-7ABA-F341-B270-15589EC91257}"/>
              </a:ext>
            </a:extLst>
          </p:cNvPr>
          <p:cNvSpPr/>
          <p:nvPr/>
        </p:nvSpPr>
        <p:spPr>
          <a:xfrm>
            <a:off x="6140903" y="3084158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Infusion Services</a:t>
            </a:r>
          </a:p>
        </p:txBody>
      </p:sp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86102012-8949-CD4C-9C4C-E75710FA89E9}"/>
              </a:ext>
            </a:extLst>
          </p:cNvPr>
          <p:cNvSpPr/>
          <p:nvPr/>
        </p:nvSpPr>
        <p:spPr>
          <a:xfrm>
            <a:off x="3868494" y="4251210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Nurses</a:t>
            </a:r>
          </a:p>
        </p:txBody>
      </p:sp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44107F7C-54C8-C743-90F1-A0F443210577}"/>
              </a:ext>
            </a:extLst>
          </p:cNvPr>
          <p:cNvSpPr/>
          <p:nvPr/>
        </p:nvSpPr>
        <p:spPr>
          <a:xfrm>
            <a:off x="5040453" y="3397644"/>
            <a:ext cx="1051432" cy="27432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1">
                    <a:lumMod val="75000"/>
                  </a:schemeClr>
                </a:solidFill>
                <a:latin typeface="+mj-lt"/>
                <a:cs typeface="Open Sans Bold"/>
              </a:rPr>
              <a:t>Medical Claims Edi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54E34C-3701-8344-AE40-AD9F0BE06898}"/>
              </a:ext>
            </a:extLst>
          </p:cNvPr>
          <p:cNvSpPr txBox="1"/>
          <p:nvPr/>
        </p:nvSpPr>
        <p:spPr>
          <a:xfrm>
            <a:off x="1248373" y="6448425"/>
            <a:ext cx="3674226" cy="241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000" dirty="0">
                <a:solidFill>
                  <a:schemeClr val="tx2"/>
                </a:solidFill>
                <a:cs typeface="Open Sans Light"/>
              </a:rPr>
              <a:t>Includes:  PBM, Mail Order, Specialty, Coram, and Novologix</a:t>
            </a:r>
          </a:p>
        </p:txBody>
      </p:sp>
    </p:spTree>
    <p:extLst>
      <p:ext uri="{BB962C8B-B14F-4D97-AF65-F5344CB8AC3E}">
        <p14:creationId xmlns:p14="http://schemas.microsoft.com/office/powerpoint/2010/main" val="31059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oftheCTO_theme_100218">
  <a:themeElements>
    <a:clrScheme name="Aetna - CTO FINAL AUGUST 18">
      <a:dk1>
        <a:srgbClr val="000000"/>
      </a:dk1>
      <a:lt1>
        <a:srgbClr val="FFFFFF"/>
      </a:lt1>
      <a:dk2>
        <a:srgbClr val="414141"/>
      </a:dk2>
      <a:lt2>
        <a:srgbClr val="C2C0C0"/>
      </a:lt2>
      <a:accent1>
        <a:srgbClr val="00859B"/>
      </a:accent1>
      <a:accent2>
        <a:srgbClr val="064E69"/>
      </a:accent2>
      <a:accent3>
        <a:srgbClr val="7CC0CC"/>
      </a:accent3>
      <a:accent4>
        <a:srgbClr val="B2DAE1"/>
      </a:accent4>
      <a:accent5>
        <a:srgbClr val="563D82"/>
      </a:accent5>
      <a:accent6>
        <a:srgbClr val="7C3E98"/>
      </a:accent6>
      <a:hlink>
        <a:srgbClr val="563D82"/>
      </a:hlink>
      <a:folHlink>
        <a:srgbClr val="B18BC1"/>
      </a:folHlink>
    </a:clrScheme>
    <a:fontScheme name="Sma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smtClean="0">
            <a:latin typeface="+mj-lt"/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tx2"/>
            </a:solidFill>
            <a:cs typeface="Open Sans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oftheCTO_theme_100218" id="{18E4FBCB-19BE-804A-9DE7-397BE919D330}" vid="{0A8A6A59-A18B-E745-A2BF-59BBEE2B9A0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to_x0020_Document xmlns="b1cf5257-8992-498b-aff9-2ccb2706890d">
      <Url xsi:nil="true"/>
      <Description xsi:nil="true"/>
    </Link_x0020_to_x0020_Document>
    <TaxCatchAll xmlns="f8f3ac21-d33a-4f17-9d4e-9f9f14b93e81" xsi:nil="true"/>
    <ne0396003d134c759a94fef6d5606d1a xmlns="b1cf5257-8992-498b-aff9-2ccb2706890d">
      <Terms xmlns="http://schemas.microsoft.com/office/infopath/2007/PartnerControls"/>
    </ne0396003d134c759a94fef6d5606d1a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E6DEB8F4FB049B548952547B6305B" ma:contentTypeVersion="23" ma:contentTypeDescription="Create a new document." ma:contentTypeScope="" ma:versionID="c215ccef8c3a36b16093470dad90619d">
  <xsd:schema xmlns:xsd="http://www.w3.org/2001/XMLSchema" xmlns:xs="http://www.w3.org/2001/XMLSchema" xmlns:p="http://schemas.microsoft.com/office/2006/metadata/properties" xmlns:ns2="b1cf5257-8992-498b-aff9-2ccb2706890d" xmlns:ns3="f8f3ac21-d33a-4f17-9d4e-9f9f14b93e81" targetNamespace="http://schemas.microsoft.com/office/2006/metadata/properties" ma:root="true" ma:fieldsID="3d38ed3f155d5df0c2af8249c3cff766" ns2:_="" ns3:_="">
    <xsd:import namespace="b1cf5257-8992-498b-aff9-2ccb2706890d"/>
    <xsd:import namespace="f8f3ac21-d33a-4f17-9d4e-9f9f14b93e81"/>
    <xsd:element name="properties">
      <xsd:complexType>
        <xsd:sequence>
          <xsd:element name="documentManagement">
            <xsd:complexType>
              <xsd:all>
                <xsd:element ref="ns2:Link_x0020_to_x0020_Document" minOccurs="0"/>
                <xsd:element ref="ns3:SharedWithUsers" minOccurs="0"/>
                <xsd:element ref="ns3:SharedWithDetails" minOccurs="0"/>
                <xsd:element ref="ns2:ne0396003d134c759a94fef6d5606d1a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5257-8992-498b-aff9-2ccb2706890d" elementFormDefault="qualified">
    <xsd:import namespace="http://schemas.microsoft.com/office/2006/documentManagement/types"/>
    <xsd:import namespace="http://schemas.microsoft.com/office/infopath/2007/PartnerControls"/>
    <xsd:element name="Link_x0020_to_x0020_Document" ma:index="8" nillable="true" ma:displayName="Link to Document" ma:format="Hyperlink" ma:internalName="Link_x0020_to_x0020_Docum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e0396003d134c759a94fef6d5606d1a" ma:index="12" nillable="true" ma:taxonomy="true" ma:internalName="ne0396003d134c759a94fef6d5606d1a" ma:taxonomyFieldName="ItemStatus" ma:displayName="ItemStatus" ma:default="" ma:fieldId="{7e039600-3d13-4c75-9a94-fef6d5606d1a}" ma:taxonomyMulti="true" ma:sspId="3773e5d3-86f4-436a-b35a-a9b626cf6315" ma:termSetId="db40ae4d-ec6d-4fe5-b1a5-c9938661c4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3ac21-d33a-4f17-9d4e-9f9f14b93e8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b152409f-fec3-4f87-b851-0f982ca0a3b0}" ma:internalName="TaxCatchAll" ma:showField="CatchAllData" ma:web="f8f3ac21-d33a-4f17-9d4e-9f9f14b93e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4F0FD7-590D-477C-84D8-04F64A55F94D}">
  <ds:schemaRefs>
    <ds:schemaRef ds:uri="http://schemas.microsoft.com/office/2006/metadata/properties"/>
    <ds:schemaRef ds:uri="http://schemas.microsoft.com/office/infopath/2007/PartnerControls"/>
    <ds:schemaRef ds:uri="9ea8bc4d-1db1-4837-b00f-6e616e24289c"/>
  </ds:schemaRefs>
</ds:datastoreItem>
</file>

<file path=customXml/itemProps2.xml><?xml version="1.0" encoding="utf-8"?>
<ds:datastoreItem xmlns:ds="http://schemas.openxmlformats.org/officeDocument/2006/customXml" ds:itemID="{3328B908-4B91-4633-866B-6AB3322430AD}"/>
</file>

<file path=customXml/itemProps3.xml><?xml version="1.0" encoding="utf-8"?>
<ds:datastoreItem xmlns:ds="http://schemas.openxmlformats.org/officeDocument/2006/customXml" ds:itemID="{3A4C5460-6341-4A06-8926-FDDA58E916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tna Violet PPT template-widescreen</Template>
  <TotalTime>6062</TotalTime>
  <Words>218</Words>
  <Application>Microsoft Office PowerPoint</Application>
  <PresentationFormat>Widescreen</PresentationFormat>
  <Paragraphs>95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OfficeoftheCTO_theme_100218</vt:lpstr>
      <vt:lpstr>PBM Business Canvas</vt:lpstr>
      <vt:lpstr>PBM - Business Canvas</vt:lpstr>
    </vt:vector>
  </TitlesOfParts>
  <Company>Aet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ffrey Oddo</dc:creator>
  <cp:lastModifiedBy>Hillocks, George M</cp:lastModifiedBy>
  <cp:revision>734</cp:revision>
  <cp:lastPrinted>2017-04-13T12:11:49Z</cp:lastPrinted>
  <dcterms:created xsi:type="dcterms:W3CDTF">2017-11-30T21:23:10Z</dcterms:created>
  <dcterms:modified xsi:type="dcterms:W3CDTF">2019-11-13T19:5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E6DEB8F4FB049B548952547B6305B</vt:lpwstr>
  </property>
  <property fmtid="{D5CDD505-2E9C-101B-9397-08002B2CF9AE}" pid="3" name="Order">
    <vt:r8>1205900</vt:r8>
  </property>
  <property fmtid="{D5CDD505-2E9C-101B-9397-08002B2CF9AE}" pid="4" name="Sensitivity">
    <vt:lpwstr>Proprietary</vt:lpwstr>
  </property>
  <property fmtid="{D5CDD505-2E9C-101B-9397-08002B2CF9AE}" pid="5" name="MSIP_Label_67599526-06ca-49cc-9fa9-5307800a949a_Extended_MSFT_Method">
    <vt:lpwstr>Automatic</vt:lpwstr>
  </property>
  <property fmtid="{D5CDD505-2E9C-101B-9397-08002B2CF9AE}" pid="6" name="MSIP_Label_67599526-06ca-49cc-9fa9-5307800a949a_Enabled">
    <vt:lpwstr>True</vt:lpwstr>
  </property>
  <property fmtid="{D5CDD505-2E9C-101B-9397-08002B2CF9AE}" pid="7" name="ComplianceAssetId">
    <vt:lpwstr/>
  </property>
  <property fmtid="{D5CDD505-2E9C-101B-9397-08002B2CF9AE}" pid="8" name="MSIP_Label_67599526-06ca-49cc-9fa9-5307800a949a_SetDate">
    <vt:lpwstr>2018-11-27T13:51:41.6573611Z</vt:lpwstr>
  </property>
  <property fmtid="{D5CDD505-2E9C-101B-9397-08002B2CF9AE}" pid="9" name="MSIP_Label_67599526-06ca-49cc-9fa9-5307800a949a_Application">
    <vt:lpwstr>Microsoft Azure Information Protection</vt:lpwstr>
  </property>
  <property fmtid="{D5CDD505-2E9C-101B-9397-08002B2CF9AE}" pid="10" name="MSIP_Label_67599526-06ca-49cc-9fa9-5307800a949a_SiteId">
    <vt:lpwstr>fabb61b8-3afe-4e75-b934-a47f782b8cd7</vt:lpwstr>
  </property>
  <property fmtid="{D5CDD505-2E9C-101B-9397-08002B2CF9AE}" pid="11" name="MSIP_Label_67599526-06ca-49cc-9fa9-5307800a949a_Owner">
    <vt:lpwstr>StubanasCM@aetna.com</vt:lpwstr>
  </property>
  <property fmtid="{D5CDD505-2E9C-101B-9397-08002B2CF9AE}" pid="12" name="UnilyDocumentCategory">
    <vt:lpwstr/>
  </property>
  <property fmtid="{D5CDD505-2E9C-101B-9397-08002B2CF9AE}" pid="13" name="MSIP_Label_67599526-06ca-49cc-9fa9-5307800a949a_Name">
    <vt:lpwstr>Proprietary</vt:lpwstr>
  </property>
</Properties>
</file>